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3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95" r:id="rId3"/>
    <p:sldMasterId id="2147483702" r:id="rId4"/>
  </p:sldMasterIdLst>
  <p:notesMasterIdLst>
    <p:notesMasterId r:id="rId28"/>
  </p:notesMasterIdLst>
  <p:sldIdLst>
    <p:sldId id="256" r:id="rId5"/>
    <p:sldId id="2252" r:id="rId6"/>
    <p:sldId id="723" r:id="rId7"/>
    <p:sldId id="2258" r:id="rId8"/>
    <p:sldId id="2257" r:id="rId9"/>
    <p:sldId id="4698" r:id="rId10"/>
    <p:sldId id="4700" r:id="rId11"/>
    <p:sldId id="2259" r:id="rId12"/>
    <p:sldId id="4703" r:id="rId13"/>
    <p:sldId id="2250" r:id="rId14"/>
    <p:sldId id="2251" r:id="rId15"/>
    <p:sldId id="4702" r:id="rId16"/>
    <p:sldId id="2216" r:id="rId17"/>
    <p:sldId id="2217" r:id="rId18"/>
    <p:sldId id="2282" r:id="rId19"/>
    <p:sldId id="4648" r:id="rId20"/>
    <p:sldId id="2243" r:id="rId21"/>
    <p:sldId id="2224" r:id="rId22"/>
    <p:sldId id="2225" r:id="rId23"/>
    <p:sldId id="4657" r:id="rId24"/>
    <p:sldId id="750" r:id="rId25"/>
    <p:sldId id="2221" r:id="rId26"/>
    <p:sldId id="705" r:id="rId27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5EA"/>
    <a:srgbClr val="00002F"/>
    <a:srgbClr val="920E04"/>
    <a:srgbClr val="B31105"/>
    <a:srgbClr val="E9EBF5"/>
    <a:srgbClr val="2B2B82"/>
    <a:srgbClr val="3E2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6" autoAdjust="0"/>
    <p:restoredTop sz="93883" autoAdjust="0"/>
  </p:normalViewPr>
  <p:slideViewPr>
    <p:cSldViewPr snapToGrid="0">
      <p:cViewPr varScale="1">
        <p:scale>
          <a:sx n="105" d="100"/>
          <a:sy n="105" d="100"/>
        </p:scale>
        <p:origin x="159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G$2:$G$186</c:f>
              <c:numCache>
                <c:formatCode>General</c:formatCode>
                <c:ptCount val="18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7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7</c:v>
                </c:pt>
                <c:pt idx="45">
                  <c:v>515</c:v>
                </c:pt>
                <c:pt idx="46">
                  <c:v>543</c:v>
                </c:pt>
                <c:pt idx="47">
                  <c:v>664</c:v>
                </c:pt>
                <c:pt idx="48">
                  <c:v>733</c:v>
                </c:pt>
                <c:pt idx="49">
                  <c:v>795</c:v>
                </c:pt>
                <c:pt idx="50">
                  <c:v>851</c:v>
                </c:pt>
                <c:pt idx="51">
                  <c:v>923</c:v>
                </c:pt>
                <c:pt idx="52">
                  <c:v>930</c:v>
                </c:pt>
                <c:pt idx="53">
                  <c:v>993</c:v>
                </c:pt>
                <c:pt idx="54">
                  <c:v>1175</c:v>
                </c:pt>
                <c:pt idx="55">
                  <c:v>1294</c:v>
                </c:pt>
                <c:pt idx="56">
                  <c:v>1397</c:v>
                </c:pt>
                <c:pt idx="57">
                  <c:v>1392</c:v>
                </c:pt>
                <c:pt idx="58">
                  <c:v>1579</c:v>
                </c:pt>
                <c:pt idx="59">
                  <c:v>1597</c:v>
                </c:pt>
                <c:pt idx="60">
                  <c:v>1731</c:v>
                </c:pt>
                <c:pt idx="61">
                  <c:v>2106</c:v>
                </c:pt>
                <c:pt idx="62">
                  <c:v>2296</c:v>
                </c:pt>
                <c:pt idx="63">
                  <c:v>2496</c:v>
                </c:pt>
                <c:pt idx="64">
                  <c:v>2661</c:v>
                </c:pt>
                <c:pt idx="65">
                  <c:v>2803</c:v>
                </c:pt>
                <c:pt idx="66">
                  <c:v>2802</c:v>
                </c:pt>
                <c:pt idx="67">
                  <c:v>2952</c:v>
                </c:pt>
                <c:pt idx="68">
                  <c:v>3412</c:v>
                </c:pt>
                <c:pt idx="69">
                  <c:v>3619</c:v>
                </c:pt>
                <c:pt idx="70">
                  <c:v>3763</c:v>
                </c:pt>
                <c:pt idx="71">
                  <c:v>3893</c:v>
                </c:pt>
                <c:pt idx="72">
                  <c:v>4057</c:v>
                </c:pt>
                <c:pt idx="73">
                  <c:v>3996</c:v>
                </c:pt>
                <c:pt idx="74">
                  <c:v>4140</c:v>
                </c:pt>
                <c:pt idx="75">
                  <c:v>4799</c:v>
                </c:pt>
                <c:pt idx="76">
                  <c:v>4872</c:v>
                </c:pt>
                <c:pt idx="77">
                  <c:v>4821</c:v>
                </c:pt>
                <c:pt idx="78">
                  <c:v>5187</c:v>
                </c:pt>
                <c:pt idx="79">
                  <c:v>5316</c:v>
                </c:pt>
                <c:pt idx="80">
                  <c:v>5204</c:v>
                </c:pt>
                <c:pt idx="81">
                  <c:v>5419</c:v>
                </c:pt>
                <c:pt idx="82">
                  <c:v>6016</c:v>
                </c:pt>
                <c:pt idx="83">
                  <c:v>6127</c:v>
                </c:pt>
                <c:pt idx="84">
                  <c:v>6227</c:v>
                </c:pt>
                <c:pt idx="85">
                  <c:v>6333</c:v>
                </c:pt>
                <c:pt idx="86">
                  <c:v>6434</c:v>
                </c:pt>
                <c:pt idx="87">
                  <c:v>6215</c:v>
                </c:pt>
                <c:pt idx="88">
                  <c:v>6417</c:v>
                </c:pt>
                <c:pt idx="89">
                  <c:v>7088</c:v>
                </c:pt>
                <c:pt idx="90">
                  <c:v>7025</c:v>
                </c:pt>
                <c:pt idx="91">
                  <c:v>6976</c:v>
                </c:pt>
                <c:pt idx="92">
                  <c:v>7066</c:v>
                </c:pt>
                <c:pt idx="93">
                  <c:v>7030</c:v>
                </c:pt>
                <c:pt idx="94">
                  <c:v>6556</c:v>
                </c:pt>
                <c:pt idx="95">
                  <c:v>6663</c:v>
                </c:pt>
                <c:pt idx="96">
                  <c:v>7128</c:v>
                </c:pt>
                <c:pt idx="97">
                  <c:v>6913</c:v>
                </c:pt>
                <c:pt idx="98">
                  <c:v>6762</c:v>
                </c:pt>
                <c:pt idx="99">
                  <c:v>6592</c:v>
                </c:pt>
                <c:pt idx="100">
                  <c:v>6404</c:v>
                </c:pt>
                <c:pt idx="101">
                  <c:v>5880</c:v>
                </c:pt>
                <c:pt idx="102">
                  <c:v>5907</c:v>
                </c:pt>
                <c:pt idx="103">
                  <c:v>6398</c:v>
                </c:pt>
                <c:pt idx="104">
                  <c:v>6109</c:v>
                </c:pt>
                <c:pt idx="105">
                  <c:v>5855</c:v>
                </c:pt>
                <c:pt idx="106">
                  <c:v>5657</c:v>
                </c:pt>
                <c:pt idx="107">
                  <c:v>5343</c:v>
                </c:pt>
                <c:pt idx="108">
                  <c:v>4824</c:v>
                </c:pt>
                <c:pt idx="109">
                  <c:v>4809</c:v>
                </c:pt>
                <c:pt idx="110">
                  <c:v>5171</c:v>
                </c:pt>
                <c:pt idx="111">
                  <c:v>4924</c:v>
                </c:pt>
                <c:pt idx="112">
                  <c:v>4572</c:v>
                </c:pt>
                <c:pt idx="113">
                  <c:v>4121</c:v>
                </c:pt>
                <c:pt idx="114">
                  <c:v>3495</c:v>
                </c:pt>
                <c:pt idx="115">
                  <c:v>3327</c:v>
                </c:pt>
                <c:pt idx="116">
                  <c:v>3383</c:v>
                </c:pt>
                <c:pt idx="117">
                  <c:v>3728</c:v>
                </c:pt>
                <c:pt idx="118">
                  <c:v>3639</c:v>
                </c:pt>
                <c:pt idx="119">
                  <c:v>3431</c:v>
                </c:pt>
                <c:pt idx="120">
                  <c:v>3170</c:v>
                </c:pt>
                <c:pt idx="121">
                  <c:v>2919</c:v>
                </c:pt>
                <c:pt idx="122">
                  <c:v>2671</c:v>
                </c:pt>
                <c:pt idx="123">
                  <c:v>2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186</c:f>
              <c:numCache>
                <c:formatCode>General</c:formatCode>
                <c:ptCount val="185"/>
                <c:pt idx="0">
                  <c:v>10.906399302941281</c:v>
                </c:pt>
                <c:pt idx="1">
                  <c:v>11.006864666764159</c:v>
                </c:pt>
                <c:pt idx="2">
                  <c:v>11.101992696116213</c:v>
                </c:pt>
                <c:pt idx="3">
                  <c:v>11.191995222849073</c:v>
                </c:pt>
                <c:pt idx="4">
                  <c:v>11.277564086019993</c:v>
                </c:pt>
                <c:pt idx="5">
                  <c:v>11.359158608422149</c:v>
                </c:pt>
                <c:pt idx="6">
                  <c:v>11.436617888015462</c:v>
                </c:pt>
                <c:pt idx="7">
                  <c:v>11.509818893886404</c:v>
                </c:pt>
                <c:pt idx="8">
                  <c:v>11.646570369688561</c:v>
                </c:pt>
                <c:pt idx="9">
                  <c:v>11.832105954177678</c:v>
                </c:pt>
                <c:pt idx="10">
                  <c:v>0.89495774569486386</c:v>
                </c:pt>
                <c:pt idx="11">
                  <c:v>2.371296230458519</c:v>
                </c:pt>
                <c:pt idx="12">
                  <c:v>4.0340433171065584</c:v>
                </c:pt>
                <c:pt idx="13">
                  <c:v>5.9234840889381601</c:v>
                </c:pt>
                <c:pt idx="14">
                  <c:v>8.0814381841141216</c:v>
                </c:pt>
                <c:pt idx="15">
                  <c:v>10.548950677150492</c:v>
                </c:pt>
                <c:pt idx="16">
                  <c:v>13.365088119747037</c:v>
                </c:pt>
                <c:pt idx="17">
                  <c:v>16.565388625336457</c:v>
                </c:pt>
                <c:pt idx="18">
                  <c:v>20.183567631856562</c:v>
                </c:pt>
                <c:pt idx="19">
                  <c:v>24.251389765433135</c:v>
                </c:pt>
                <c:pt idx="20">
                  <c:v>28.798417478055516</c:v>
                </c:pt>
                <c:pt idx="21">
                  <c:v>33.852564097667035</c:v>
                </c:pt>
                <c:pt idx="22">
                  <c:v>39.439110028235163</c:v>
                </c:pt>
                <c:pt idx="23">
                  <c:v>45.580157393388198</c:v>
                </c:pt>
                <c:pt idx="24">
                  <c:v>52.296510866236787</c:v>
                </c:pt>
                <c:pt idx="25">
                  <c:v>59.609406524433787</c:v>
                </c:pt>
                <c:pt idx="26">
                  <c:v>67.540553348570114</c:v>
                </c:pt>
                <c:pt idx="27">
                  <c:v>76.111191613546339</c:v>
                </c:pt>
                <c:pt idx="28">
                  <c:v>85.342478031037885</c:v>
                </c:pt>
                <c:pt idx="29">
                  <c:v>95.255971042071366</c:v>
                </c:pt>
                <c:pt idx="30">
                  <c:v>105.87341417016626</c:v>
                </c:pt>
                <c:pt idx="31">
                  <c:v>117.21725535991835</c:v>
                </c:pt>
                <c:pt idx="32">
                  <c:v>129.3121543738431</c:v>
                </c:pt>
                <c:pt idx="33">
                  <c:v>142.18509122340515</c:v>
                </c:pt>
                <c:pt idx="34">
                  <c:v>155.86444570218077</c:v>
                </c:pt>
                <c:pt idx="35">
                  <c:v>170.38112923376454</c:v>
                </c:pt>
                <c:pt idx="36">
                  <c:v>185.76728359191031</c:v>
                </c:pt>
                <c:pt idx="37">
                  <c:v>202.05634279466071</c:v>
                </c:pt>
                <c:pt idx="38">
                  <c:v>219.82063099405758</c:v>
                </c:pt>
                <c:pt idx="39">
                  <c:v>239.51690508056987</c:v>
                </c:pt>
                <c:pt idx="40">
                  <c:v>261.48146417730129</c:v>
                </c:pt>
                <c:pt idx="41">
                  <c:v>285.99413063722886</c:v>
                </c:pt>
                <c:pt idx="42">
                  <c:v>313.31890354625472</c:v>
                </c:pt>
                <c:pt idx="43">
                  <c:v>343.72272863954993</c:v>
                </c:pt>
                <c:pt idx="44">
                  <c:v>377.48509874539343</c:v>
                </c:pt>
                <c:pt idx="45">
                  <c:v>414.89630397024024</c:v>
                </c:pt>
                <c:pt idx="46">
                  <c:v>456.26143717120181</c:v>
                </c:pt>
                <c:pt idx="47">
                  <c:v>501.89853448689439</c:v>
                </c:pt>
                <c:pt idx="48">
                  <c:v>552.14499091861501</c:v>
                </c:pt>
                <c:pt idx="49">
                  <c:v>607.35660073122767</c:v>
                </c:pt>
                <c:pt idx="50">
                  <c:v>667.913578948907</c:v>
                </c:pt>
                <c:pt idx="51">
                  <c:v>734.22420575685544</c:v>
                </c:pt>
                <c:pt idx="52">
                  <c:v>806.71462088669159</c:v>
                </c:pt>
                <c:pt idx="53">
                  <c:v>885.82010313947694</c:v>
                </c:pt>
                <c:pt idx="54">
                  <c:v>972.00405775025865</c:v>
                </c:pt>
                <c:pt idx="55">
                  <c:v>1065.7685749287702</c:v>
                </c:pt>
                <c:pt idx="56">
                  <c:v>1167.6588385879973</c:v>
                </c:pt>
                <c:pt idx="57">
                  <c:v>1278.2589346195448</c:v>
                </c:pt>
                <c:pt idx="58">
                  <c:v>1398.1893891890713</c:v>
                </c:pt>
                <c:pt idx="59">
                  <c:v>1528.1069550345881</c:v>
                </c:pt>
                <c:pt idx="60">
                  <c:v>1668.7088489861981</c:v>
                </c:pt>
                <c:pt idx="61">
                  <c:v>1820.7343574920269</c:v>
                </c:pt>
                <c:pt idx="62">
                  <c:v>1980.8799781611301</c:v>
                </c:pt>
                <c:pt idx="63">
                  <c:v>2146.6819954051862</c:v>
                </c:pt>
                <c:pt idx="64">
                  <c:v>2316.6657562391078</c:v>
                </c:pt>
                <c:pt idx="65">
                  <c:v>2489.905772435759</c:v>
                </c:pt>
                <c:pt idx="66">
                  <c:v>2665.7151051596229</c:v>
                </c:pt>
                <c:pt idx="67">
                  <c:v>2843.5205044569461</c:v>
                </c:pt>
                <c:pt idx="68">
                  <c:v>3022.7919580576981</c:v>
                </c:pt>
                <c:pt idx="69">
                  <c:v>3204.8700520519819</c:v>
                </c:pt>
                <c:pt idx="70">
                  <c:v>3390.7061410875231</c:v>
                </c:pt>
                <c:pt idx="71">
                  <c:v>3580.8811372896685</c:v>
                </c:pt>
                <c:pt idx="72">
                  <c:v>3775.7719046470284</c:v>
                </c:pt>
                <c:pt idx="73">
                  <c:v>3975.6978471291504</c:v>
                </c:pt>
                <c:pt idx="74">
                  <c:v>4180.9563949033</c:v>
                </c:pt>
                <c:pt idx="75">
                  <c:v>4391.8191470810898</c:v>
                </c:pt>
                <c:pt idx="76">
                  <c:v>4608.570829041194</c:v>
                </c:pt>
                <c:pt idx="77">
                  <c:v>4831.6097619514039</c:v>
                </c:pt>
                <c:pt idx="78">
                  <c:v>5056.2358672888859</c:v>
                </c:pt>
                <c:pt idx="79">
                  <c:v>5287.2730047236191</c:v>
                </c:pt>
                <c:pt idx="80">
                  <c:v>5524.786305708737</c:v>
                </c:pt>
                <c:pt idx="81">
                  <c:v>5768.7515797665747</c:v>
                </c:pt>
                <c:pt idx="82">
                  <c:v>6019.0662300064896</c:v>
                </c:pt>
                <c:pt idx="83">
                  <c:v>6264.2022578834112</c:v>
                </c:pt>
                <c:pt idx="84">
                  <c:v>6495.352917039465</c:v>
                </c:pt>
                <c:pt idx="85">
                  <c:v>6700.5127670149805</c:v>
                </c:pt>
                <c:pt idx="86">
                  <c:v>6883.0998856606057</c:v>
                </c:pt>
                <c:pt idx="87">
                  <c:v>7041.5761095229655</c:v>
                </c:pt>
                <c:pt idx="88">
                  <c:v>7175.1995765693473</c:v>
                </c:pt>
                <c:pt idx="89">
                  <c:v>7283.7125414143902</c:v>
                </c:pt>
                <c:pt idx="90">
                  <c:v>7367.2535371972426</c:v>
                </c:pt>
                <c:pt idx="91">
                  <c:v>7426.2901643123269</c:v>
                </c:pt>
                <c:pt idx="92">
                  <c:v>7453.9924360284358</c:v>
                </c:pt>
                <c:pt idx="93">
                  <c:v>7458.9025044548198</c:v>
                </c:pt>
                <c:pt idx="94">
                  <c:v>7442.2312980145271</c:v>
                </c:pt>
                <c:pt idx="95">
                  <c:v>7405.2860506964771</c:v>
                </c:pt>
                <c:pt idx="96">
                  <c:v>7349.3827286993801</c:v>
                </c:pt>
                <c:pt idx="97">
                  <c:v>7276.0465363655676</c:v>
                </c:pt>
                <c:pt idx="98">
                  <c:v>7187.3248428237976</c:v>
                </c:pt>
                <c:pt idx="99">
                  <c:v>7077.9656119549145</c:v>
                </c:pt>
                <c:pt idx="100">
                  <c:v>6957.5113230172838</c:v>
                </c:pt>
                <c:pt idx="101">
                  <c:v>6827.6603619480384</c:v>
                </c:pt>
                <c:pt idx="102">
                  <c:v>6689.9052830602805</c:v>
                </c:pt>
                <c:pt idx="103">
                  <c:v>6545.5669169954017</c:v>
                </c:pt>
                <c:pt idx="104">
                  <c:v>6395.821208433149</c:v>
                </c:pt>
                <c:pt idx="105">
                  <c:v>6241.789032590138</c:v>
                </c:pt>
                <c:pt idx="106">
                  <c:v>6091.0707947998526</c:v>
                </c:pt>
                <c:pt idx="107">
                  <c:v>5937.6922666281389</c:v>
                </c:pt>
                <c:pt idx="108">
                  <c:v>5782.4167828388663</c:v>
                </c:pt>
                <c:pt idx="109">
                  <c:v>5625.8985378205389</c:v>
                </c:pt>
                <c:pt idx="110">
                  <c:v>5468.7059021604291</c:v>
                </c:pt>
                <c:pt idx="111">
                  <c:v>5311.3224465516341</c:v>
                </c:pt>
                <c:pt idx="112">
                  <c:v>5154.1765125446273</c:v>
                </c:pt>
                <c:pt idx="113">
                  <c:v>5003.1666181935934</c:v>
                </c:pt>
                <c:pt idx="114">
                  <c:v>4852.807512133053</c:v>
                </c:pt>
                <c:pt idx="115">
                  <c:v>4703.4077967723624</c:v>
                </c:pt>
                <c:pt idx="116">
                  <c:v>4555.2551253640022</c:v>
                </c:pt>
                <c:pt idx="117">
                  <c:v>4408.604537529669</c:v>
                </c:pt>
                <c:pt idx="118">
                  <c:v>4263.672018311634</c:v>
                </c:pt>
                <c:pt idx="119">
                  <c:v>4120.6491506341135</c:v>
                </c:pt>
                <c:pt idx="120">
                  <c:v>3984.176168487119</c:v>
                </c:pt>
                <c:pt idx="121">
                  <c:v>3847.9981950758811</c:v>
                </c:pt>
                <c:pt idx="122">
                  <c:v>3779.6664392780617</c:v>
                </c:pt>
                <c:pt idx="123">
                  <c:v>3712.478890715603</c:v>
                </c:pt>
                <c:pt idx="124">
                  <c:v>3646.4968663905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90-442D-BD58-5B49B037E7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C$2:$C$186</c:f>
              <c:numCache>
                <c:formatCode>General</c:formatCode>
                <c:ptCount val="185"/>
                <c:pt idx="122">
                  <c:v>3717.3203728109293</c:v>
                </c:pt>
                <c:pt idx="123">
                  <c:v>3587.2524645937979</c:v>
                </c:pt>
                <c:pt idx="124">
                  <c:v>3459.5956048514786</c:v>
                </c:pt>
                <c:pt idx="125">
                  <c:v>3334.4575969322723</c:v>
                </c:pt>
                <c:pt idx="126">
                  <c:v>3211.9302602029848</c:v>
                </c:pt>
                <c:pt idx="127">
                  <c:v>3095.5777981525002</c:v>
                </c:pt>
                <c:pt idx="128">
                  <c:v>2981.7236110340596</c:v>
                </c:pt>
                <c:pt idx="129">
                  <c:v>2870.4308047313343</c:v>
                </c:pt>
                <c:pt idx="130">
                  <c:v>2761.7517847744502</c:v>
                </c:pt>
                <c:pt idx="131">
                  <c:v>2655.7319370443538</c:v>
                </c:pt>
                <c:pt idx="132">
                  <c:v>2554.4562197140135</c:v>
                </c:pt>
                <c:pt idx="133">
                  <c:v>2459.3353668178761</c:v>
                </c:pt>
                <c:pt idx="134">
                  <c:v>2371.0372711414566</c:v>
                </c:pt>
                <c:pt idx="135">
                  <c:v>2289.7764949863458</c:v>
                </c:pt>
                <c:pt idx="136">
                  <c:v>2215.5165377155563</c:v>
                </c:pt>
                <c:pt idx="137">
                  <c:v>2148.0834435121055</c:v>
                </c:pt>
                <c:pt idx="138">
                  <c:v>2087.2255968651843</c:v>
                </c:pt>
                <c:pt idx="139">
                  <c:v>2032.6247191234636</c:v>
                </c:pt>
                <c:pt idx="140">
                  <c:v>1983.9103024905471</c:v>
                </c:pt>
                <c:pt idx="141">
                  <c:v>1940.6618669077202</c:v>
                </c:pt>
                <c:pt idx="142">
                  <c:v>1902.4486812179316</c:v>
                </c:pt>
                <c:pt idx="143">
                  <c:v>1868.8246095161317</c:v>
                </c:pt>
                <c:pt idx="144">
                  <c:v>1839.350422416348</c:v>
                </c:pt>
                <c:pt idx="145">
                  <c:v>1813.607844860044</c:v>
                </c:pt>
                <c:pt idx="146">
                  <c:v>1791.1552391249143</c:v>
                </c:pt>
                <c:pt idx="147">
                  <c:v>1771.4717173397225</c:v>
                </c:pt>
                <c:pt idx="148">
                  <c:v>1754.0398397381921</c:v>
                </c:pt>
                <c:pt idx="149">
                  <c:v>1738.4116843504078</c:v>
                </c:pt>
                <c:pt idx="150">
                  <c:v>1724.2103779239624</c:v>
                </c:pt>
                <c:pt idx="151">
                  <c:v>1711.1166117689929</c:v>
                </c:pt>
                <c:pt idx="152">
                  <c:v>1698.8592428521195</c:v>
                </c:pt>
                <c:pt idx="153">
                  <c:v>1687.2045233318549</c:v>
                </c:pt>
                <c:pt idx="154">
                  <c:v>1675.9371042929934</c:v>
                </c:pt>
                <c:pt idx="155">
                  <c:v>1664.8691617892382</c:v>
                </c:pt>
                <c:pt idx="156">
                  <c:v>1653.8477541666705</c:v>
                </c:pt>
                <c:pt idx="157">
                  <c:v>1642.7470920830849</c:v>
                </c:pt>
                <c:pt idx="158">
                  <c:v>1631.4708726549154</c:v>
                </c:pt>
                <c:pt idx="159">
                  <c:v>1619.9457783617115</c:v>
                </c:pt>
                <c:pt idx="160">
                  <c:v>1608.1164182539669</c:v>
                </c:pt>
                <c:pt idx="161">
                  <c:v>1595.9449655972951</c:v>
                </c:pt>
                <c:pt idx="162">
                  <c:v>1583.4076573575637</c:v>
                </c:pt>
                <c:pt idx="163">
                  <c:v>1570.4921465617326</c:v>
                </c:pt>
                <c:pt idx="164">
                  <c:v>1557.1936812698145</c:v>
                </c:pt>
                <c:pt idx="165">
                  <c:v>1543.5146610912534</c:v>
                </c:pt>
                <c:pt idx="166">
                  <c:v>1529.4655735561521</c:v>
                </c:pt>
                <c:pt idx="167">
                  <c:v>1515.0626691981038</c:v>
                </c:pt>
                <c:pt idx="168">
                  <c:v>1500.325181473997</c:v>
                </c:pt>
                <c:pt idx="169">
                  <c:v>1485.2719143283566</c:v>
                </c:pt>
                <c:pt idx="170">
                  <c:v>1469.9219746993945</c:v>
                </c:pt>
                <c:pt idx="171">
                  <c:v>1454.2938407099214</c:v>
                </c:pt>
                <c:pt idx="172">
                  <c:v>1438.4086354984336</c:v>
                </c:pt>
                <c:pt idx="173">
                  <c:v>1422.289170980149</c:v>
                </c:pt>
                <c:pt idx="174">
                  <c:v>1405.958131271449</c:v>
                </c:pt>
                <c:pt idx="175">
                  <c:v>1389.4382886818582</c:v>
                </c:pt>
                <c:pt idx="176">
                  <c:v>1372.7517863014632</c:v>
                </c:pt>
                <c:pt idx="177">
                  <c:v>1355.9198274592079</c:v>
                </c:pt>
                <c:pt idx="178">
                  <c:v>1338.9626530210999</c:v>
                </c:pt>
                <c:pt idx="179">
                  <c:v>1321.8995366256718</c:v>
                </c:pt>
                <c:pt idx="180">
                  <c:v>1304.7480061581841</c:v>
                </c:pt>
                <c:pt idx="181">
                  <c:v>1287.5247882388519</c:v>
                </c:pt>
                <c:pt idx="182">
                  <c:v>1270.2458857563975</c:v>
                </c:pt>
                <c:pt idx="183">
                  <c:v>1252.9264493519463</c:v>
                </c:pt>
                <c:pt idx="184">
                  <c:v>1235.5807168696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D$2:$D$186</c:f>
              <c:numCache>
                <c:formatCode>General</c:formatCode>
                <c:ptCount val="185"/>
                <c:pt idx="122">
                  <c:v>3717.3203728109293</c:v>
                </c:pt>
                <c:pt idx="123">
                  <c:v>3587.2524645937979</c:v>
                </c:pt>
                <c:pt idx="124">
                  <c:v>3459.5956048514786</c:v>
                </c:pt>
                <c:pt idx="125">
                  <c:v>3341.4494120366089</c:v>
                </c:pt>
                <c:pt idx="126">
                  <c:v>3237.6080944700898</c:v>
                </c:pt>
                <c:pt idx="127">
                  <c:v>3154.0826688712214</c:v>
                </c:pt>
                <c:pt idx="128">
                  <c:v>3088.318636930941</c:v>
                </c:pt>
                <c:pt idx="129">
                  <c:v>3040.8462170980793</c:v>
                </c:pt>
                <c:pt idx="130">
                  <c:v>3011.8460315895509</c:v>
                </c:pt>
                <c:pt idx="131">
                  <c:v>3001.3027183391177</c:v>
                </c:pt>
                <c:pt idx="132">
                  <c:v>3009.0043787155414</c:v>
                </c:pt>
                <c:pt idx="133">
                  <c:v>3034.5677322001943</c:v>
                </c:pt>
                <c:pt idx="134">
                  <c:v>3077.428870784544</c:v>
                </c:pt>
                <c:pt idx="135">
                  <c:v>3136.9609149041139</c:v>
                </c:pt>
                <c:pt idx="136">
                  <c:v>3212.4399057505052</c:v>
                </c:pt>
                <c:pt idx="137">
                  <c:v>3303.1101913349512</c:v>
                </c:pt>
                <c:pt idx="138">
                  <c:v>3408.2231995894163</c:v>
                </c:pt>
                <c:pt idx="139">
                  <c:v>3526.8792871828559</c:v>
                </c:pt>
                <c:pt idx="140">
                  <c:v>3657.8296085760094</c:v>
                </c:pt>
                <c:pt idx="141">
                  <c:v>3799.7527494511419</c:v>
                </c:pt>
                <c:pt idx="142">
                  <c:v>3951.4689737158737</c:v>
                </c:pt>
                <c:pt idx="143">
                  <c:v>4111.9367026309465</c:v>
                </c:pt>
                <c:pt idx="144">
                  <c:v>4280.2061316067593</c:v>
                </c:pt>
                <c:pt idx="145">
                  <c:v>4455.3914432630063</c:v>
                </c:pt>
                <c:pt idx="146">
                  <c:v>4636.6394272408079</c:v>
                </c:pt>
                <c:pt idx="147">
                  <c:v>4823.0699885614558</c:v>
                </c:pt>
                <c:pt idx="148">
                  <c:v>5013.8116758517326</c:v>
                </c:pt>
                <c:pt idx="149">
                  <c:v>5208.0304808589881</c:v>
                </c:pt>
                <c:pt idx="150">
                  <c:v>5404.906556110137</c:v>
                </c:pt>
                <c:pt idx="151">
                  <c:v>5603.6478324460131</c:v>
                </c:pt>
                <c:pt idx="152">
                  <c:v>5803.4734582411438</c:v>
                </c:pt>
                <c:pt idx="153">
                  <c:v>6003.6026156830139</c:v>
                </c:pt>
                <c:pt idx="154">
                  <c:v>6203.2394064496939</c:v>
                </c:pt>
                <c:pt idx="155">
                  <c:v>6401.5730008229275</c:v>
                </c:pt>
                <c:pt idx="156">
                  <c:v>6597.7826875276942</c:v>
                </c:pt>
                <c:pt idx="157">
                  <c:v>6791.0348794257998</c:v>
                </c:pt>
                <c:pt idx="158">
                  <c:v>6980.4904842956785</c:v>
                </c:pt>
                <c:pt idx="159">
                  <c:v>7165.31658364547</c:v>
                </c:pt>
                <c:pt idx="160">
                  <c:v>7344.6867079749563</c:v>
                </c:pt>
                <c:pt idx="161">
                  <c:v>7517.8201774854497</c:v>
                </c:pt>
                <c:pt idx="162">
                  <c:v>7683.9679936694802</c:v>
                </c:pt>
                <c:pt idx="163">
                  <c:v>7842.4120483937531</c:v>
                </c:pt>
                <c:pt idx="164">
                  <c:v>7992.4627039589695</c:v>
                </c:pt>
                <c:pt idx="165">
                  <c:v>8133.4739515591327</c:v>
                </c:pt>
                <c:pt idx="166">
                  <c:v>8264.8448342995143</c:v>
                </c:pt>
                <c:pt idx="167">
                  <c:v>8386.018546664267</c:v>
                </c:pt>
                <c:pt idx="168">
                  <c:v>8496.4880602502981</c:v>
                </c:pt>
                <c:pt idx="169">
                  <c:v>8595.7986251349994</c:v>
                </c:pt>
                <c:pt idx="170">
                  <c:v>8683.5501936583878</c:v>
                </c:pt>
                <c:pt idx="171">
                  <c:v>8759.4002919232862</c:v>
                </c:pt>
                <c:pt idx="172">
                  <c:v>8823.0661412435256</c:v>
                </c:pt>
                <c:pt idx="173">
                  <c:v>8874.3240935909489</c:v>
                </c:pt>
                <c:pt idx="174">
                  <c:v>8913.0142797149238</c:v>
                </c:pt>
                <c:pt idx="175">
                  <c:v>8939.0409128273932</c:v>
                </c:pt>
                <c:pt idx="176">
                  <c:v>8952.3703888885793</c:v>
                </c:pt>
                <c:pt idx="177">
                  <c:v>8953.0303147325521</c:v>
                </c:pt>
                <c:pt idx="178">
                  <c:v>8941.1093507829573</c:v>
                </c:pt>
                <c:pt idx="179">
                  <c:v>8916.7564045940835</c:v>
                </c:pt>
                <c:pt idx="180">
                  <c:v>8880.1791920565811</c:v>
                </c:pt>
                <c:pt idx="181">
                  <c:v>8831.6421248784118</c:v>
                </c:pt>
                <c:pt idx="182">
                  <c:v>8771.4635849990609</c:v>
                </c:pt>
                <c:pt idx="183">
                  <c:v>8700.0122798349021</c:v>
                </c:pt>
                <c:pt idx="184">
                  <c:v>8617.7034954934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F$2:$F$186</c:f>
              <c:numCache>
                <c:formatCode>General</c:formatCode>
                <c:ptCount val="185"/>
                <c:pt idx="128">
                  <c:v>3088.318636930941</c:v>
                </c:pt>
                <c:pt idx="129">
                  <c:v>3040.8462170980793</c:v>
                </c:pt>
                <c:pt idx="130">
                  <c:v>2993.3737972652175</c:v>
                </c:pt>
                <c:pt idx="131">
                  <c:v>2988.1021406400009</c:v>
                </c:pt>
                <c:pt idx="132">
                  <c:v>2991.952970828213</c:v>
                </c:pt>
                <c:pt idx="133">
                  <c:v>3004.7346475705394</c:v>
                </c:pt>
                <c:pt idx="134">
                  <c:v>3026.1652168627138</c:v>
                </c:pt>
                <c:pt idx="135">
                  <c:v>3055.9312389224992</c:v>
                </c:pt>
                <c:pt idx="136">
                  <c:v>3093.6707343456947</c:v>
                </c:pt>
                <c:pt idx="137">
                  <c:v>3139.0058771379177</c:v>
                </c:pt>
                <c:pt idx="138">
                  <c:v>3191.5623812651497</c:v>
                </c:pt>
                <c:pt idx="139">
                  <c:v>3250.8904250618698</c:v>
                </c:pt>
                <c:pt idx="140">
                  <c:v>3316.3655857584467</c:v>
                </c:pt>
                <c:pt idx="141">
                  <c:v>3387.3271561960128</c:v>
                </c:pt>
                <c:pt idx="142">
                  <c:v>3463.1852683283782</c:v>
                </c:pt>
                <c:pt idx="143">
                  <c:v>3543.4191327859157</c:v>
                </c:pt>
                <c:pt idx="144">
                  <c:v>3627.5538472738222</c:v>
                </c:pt>
                <c:pt idx="145">
                  <c:v>3715.1465031019447</c:v>
                </c:pt>
                <c:pt idx="146">
                  <c:v>3805.770495090846</c:v>
                </c:pt>
                <c:pt idx="147">
                  <c:v>3898.9857757511704</c:v>
                </c:pt>
                <c:pt idx="148">
                  <c:v>3994.3566193963084</c:v>
                </c:pt>
                <c:pt idx="149">
                  <c:v>4091.4660218999365</c:v>
                </c:pt>
                <c:pt idx="150">
                  <c:v>4189.9040595255101</c:v>
                </c:pt>
                <c:pt idx="151">
                  <c:v>4289.2746976934486</c:v>
                </c:pt>
                <c:pt idx="152">
                  <c:v>4389.1875105910149</c:v>
                </c:pt>
                <c:pt idx="153">
                  <c:v>4489.252089311949</c:v>
                </c:pt>
                <c:pt idx="154">
                  <c:v>4589.0704846952885</c:v>
                </c:pt>
                <c:pt idx="155">
                  <c:v>4688.2372818819058</c:v>
                </c:pt>
                <c:pt idx="156">
                  <c:v>4786.3421252342905</c:v>
                </c:pt>
                <c:pt idx="157">
                  <c:v>4882.9682211833424</c:v>
                </c:pt>
                <c:pt idx="158">
                  <c:v>4977.6960236182822</c:v>
                </c:pt>
                <c:pt idx="159">
                  <c:v>5070.1090732931771</c:v>
                </c:pt>
                <c:pt idx="160">
                  <c:v>5159.7941354579216</c:v>
                </c:pt>
                <c:pt idx="161">
                  <c:v>5246.3608702131678</c:v>
                </c:pt>
                <c:pt idx="162">
                  <c:v>5329.4347783051817</c:v>
                </c:pt>
                <c:pt idx="163">
                  <c:v>5408.6568056673186</c:v>
                </c:pt>
                <c:pt idx="164">
                  <c:v>5483.6821334499273</c:v>
                </c:pt>
                <c:pt idx="165">
                  <c:v>5554.1877572500089</c:v>
                </c:pt>
                <c:pt idx="166">
                  <c:v>5619.8731986201983</c:v>
                </c:pt>
                <c:pt idx="167">
                  <c:v>5680.4600548025755</c:v>
                </c:pt>
                <c:pt idx="168">
                  <c:v>5735.6948115955929</c:v>
                </c:pt>
                <c:pt idx="169">
                  <c:v>5785.3500940379417</c:v>
                </c:pt>
                <c:pt idx="170">
                  <c:v>5829.2258782996378</c:v>
                </c:pt>
                <c:pt idx="171">
                  <c:v>5867.1509274320852</c:v>
                </c:pt>
                <c:pt idx="172">
                  <c:v>5898.9838520922058</c:v>
                </c:pt>
                <c:pt idx="173">
                  <c:v>5924.6128282659174</c:v>
                </c:pt>
                <c:pt idx="174">
                  <c:v>5943.9579213279048</c:v>
                </c:pt>
                <c:pt idx="175">
                  <c:v>5956.9712378841396</c:v>
                </c:pt>
                <c:pt idx="176">
                  <c:v>5963.6359759147308</c:v>
                </c:pt>
                <c:pt idx="177">
                  <c:v>5963.9659388367181</c:v>
                </c:pt>
                <c:pt idx="178">
                  <c:v>5958.0054568619216</c:v>
                </c:pt>
                <c:pt idx="179">
                  <c:v>5945.8289837674856</c:v>
                </c:pt>
                <c:pt idx="180">
                  <c:v>5927.5403774987335</c:v>
                </c:pt>
                <c:pt idx="181">
                  <c:v>5903.2718439096479</c:v>
                </c:pt>
                <c:pt idx="182">
                  <c:v>5873.1825739699743</c:v>
                </c:pt>
                <c:pt idx="183">
                  <c:v>5837.4569213878949</c:v>
                </c:pt>
                <c:pt idx="184">
                  <c:v>5796.3025292171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12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7655115397936974"/>
          <c:y val="0.33749997923843633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19672675423385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4AC-4CC0-8C06-7C983779B817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70-4302-9DB9-2A40D2C7CF52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5DF-41AA-A790-347E5AF75114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B13-47B8-8D55-3C11AB97633A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Hlavní město Praha</c:v>
                </c:pt>
                <c:pt idx="3">
                  <c:v>Jihočeský kraj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moravs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Karlovars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6.40025</c:v>
                </c:pt>
                <c:pt idx="1">
                  <c:v>66.007294700000003</c:v>
                </c:pt>
                <c:pt idx="2">
                  <c:v>65.522469000000001</c:v>
                </c:pt>
                <c:pt idx="3">
                  <c:v>64.214491199999998</c:v>
                </c:pt>
                <c:pt idx="4">
                  <c:v>64.036617500000006</c:v>
                </c:pt>
                <c:pt idx="5">
                  <c:v>63.600960800000003</c:v>
                </c:pt>
                <c:pt idx="6">
                  <c:v>63.065337300000003</c:v>
                </c:pt>
                <c:pt idx="7">
                  <c:v>62.016709800000001</c:v>
                </c:pt>
                <c:pt idx="8">
                  <c:v>61.744945100000002</c:v>
                </c:pt>
                <c:pt idx="9">
                  <c:v>61.693468199999998</c:v>
                </c:pt>
                <c:pt idx="10">
                  <c:v>61.208743499999997</c:v>
                </c:pt>
                <c:pt idx="11">
                  <c:v>61.155906199999997</c:v>
                </c:pt>
                <c:pt idx="12">
                  <c:v>60.2426399</c:v>
                </c:pt>
                <c:pt idx="13">
                  <c:v>59.0950627</c:v>
                </c:pt>
                <c:pt idx="14">
                  <c:v>58.6269788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63703070509006"/>
          <c:y val="0.15289779551144775"/>
          <c:w val="0.73100799573970543"/>
          <c:h val="0.783204055176439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6.61157</c:v>
                </c:pt>
                <c:pt idx="1">
                  <c:v>28.45562</c:v>
                </c:pt>
                <c:pt idx="2">
                  <c:v>29.373270000000002</c:v>
                </c:pt>
                <c:pt idx="3">
                  <c:v>28.351030000000002</c:v>
                </c:pt>
                <c:pt idx="4">
                  <c:v>26.56963</c:v>
                </c:pt>
                <c:pt idx="5">
                  <c:v>28.311389999999999</c:v>
                </c:pt>
                <c:pt idx="6">
                  <c:v>26.195360000000001</c:v>
                </c:pt>
                <c:pt idx="7">
                  <c:v>26.238790000000002</c:v>
                </c:pt>
                <c:pt idx="8">
                  <c:v>25.127780000000001</c:v>
                </c:pt>
                <c:pt idx="9">
                  <c:v>25.60772</c:v>
                </c:pt>
                <c:pt idx="10">
                  <c:v>25.550989999999999</c:v>
                </c:pt>
                <c:pt idx="11">
                  <c:v>24.593589999999999</c:v>
                </c:pt>
                <c:pt idx="12">
                  <c:v>25.97221</c:v>
                </c:pt>
                <c:pt idx="13">
                  <c:v>24.176120000000001</c:v>
                </c:pt>
                <c:pt idx="14">
                  <c:v>24.9560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07-4FD9-8636-981FB513E15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37.877049999999997</c:v>
                </c:pt>
                <c:pt idx="1">
                  <c:v>36.590400000000002</c:v>
                </c:pt>
                <c:pt idx="2">
                  <c:v>33.360990000000001</c:v>
                </c:pt>
                <c:pt idx="3">
                  <c:v>35.564430000000002</c:v>
                </c:pt>
                <c:pt idx="4">
                  <c:v>36.012210000000003</c:v>
                </c:pt>
                <c:pt idx="5">
                  <c:v>34.109290000000001</c:v>
                </c:pt>
                <c:pt idx="6">
                  <c:v>34.177100000000003</c:v>
                </c:pt>
                <c:pt idx="7">
                  <c:v>35.61936</c:v>
                </c:pt>
                <c:pt idx="8">
                  <c:v>33.793759999999999</c:v>
                </c:pt>
                <c:pt idx="9">
                  <c:v>34.623829999999998</c:v>
                </c:pt>
                <c:pt idx="10">
                  <c:v>34.442320000000002</c:v>
                </c:pt>
                <c:pt idx="11">
                  <c:v>32.825180000000003</c:v>
                </c:pt>
                <c:pt idx="12">
                  <c:v>34.634099999999997</c:v>
                </c:pt>
                <c:pt idx="13">
                  <c:v>33.729759999999999</c:v>
                </c:pt>
                <c:pt idx="14">
                  <c:v>34.9581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07-4FD9-8636-981FB513E15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.5186729999999999</c:v>
                </c:pt>
                <c:pt idx="1">
                  <c:v>1.354225</c:v>
                </c:pt>
                <c:pt idx="2">
                  <c:v>1.4802249999999999</c:v>
                </c:pt>
                <c:pt idx="3">
                  <c:v>1.6070150000000001</c:v>
                </c:pt>
                <c:pt idx="4">
                  <c:v>1.454777</c:v>
                </c:pt>
                <c:pt idx="5">
                  <c:v>1.180277</c:v>
                </c:pt>
                <c:pt idx="6">
                  <c:v>1.3210139999999999</c:v>
                </c:pt>
                <c:pt idx="7">
                  <c:v>1.207192</c:v>
                </c:pt>
                <c:pt idx="8">
                  <c:v>1.3211079999999999</c:v>
                </c:pt>
                <c:pt idx="9">
                  <c:v>1.513393</c:v>
                </c:pt>
                <c:pt idx="10">
                  <c:v>1.215433</c:v>
                </c:pt>
                <c:pt idx="11">
                  <c:v>1.208205</c:v>
                </c:pt>
                <c:pt idx="12">
                  <c:v>1.4103969999999999</c:v>
                </c:pt>
                <c:pt idx="13">
                  <c:v>1.1891849999999999</c:v>
                </c:pt>
                <c:pt idx="14">
                  <c:v>1.24168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07-4FD9-8636-981FB513E152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9.1977309999999992</c:v>
                </c:pt>
                <c:pt idx="1">
                  <c:v>8.7027269999999994</c:v>
                </c:pt>
                <c:pt idx="2">
                  <c:v>9.8186470000000003</c:v>
                </c:pt>
                <c:pt idx="3">
                  <c:v>8.267944</c:v>
                </c:pt>
                <c:pt idx="4">
                  <c:v>9.6892969999999998</c:v>
                </c:pt>
                <c:pt idx="5">
                  <c:v>9.5609500000000001</c:v>
                </c:pt>
                <c:pt idx="6">
                  <c:v>11.00418</c:v>
                </c:pt>
                <c:pt idx="7">
                  <c:v>9.4111910000000005</c:v>
                </c:pt>
                <c:pt idx="8">
                  <c:v>11.479889999999999</c:v>
                </c:pt>
                <c:pt idx="9">
                  <c:v>9.6592819999999993</c:v>
                </c:pt>
                <c:pt idx="10">
                  <c:v>10.0932</c:v>
                </c:pt>
                <c:pt idx="11">
                  <c:v>11.71617</c:v>
                </c:pt>
                <c:pt idx="12">
                  <c:v>8.2999589999999994</c:v>
                </c:pt>
                <c:pt idx="13">
                  <c:v>10.87444</c:v>
                </c:pt>
                <c:pt idx="14">
                  <c:v>6.75460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07-4FD9-8636-981FB513E152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0.266739</c:v>
                </c:pt>
                <c:pt idx="1">
                  <c:v>0.21224199999999999</c:v>
                </c:pt>
                <c:pt idx="2">
                  <c:v>0.188641</c:v>
                </c:pt>
                <c:pt idx="3">
                  <c:v>0.32222699999999999</c:v>
                </c:pt>
                <c:pt idx="4">
                  <c:v>0.226439</c:v>
                </c:pt>
                <c:pt idx="5">
                  <c:v>0.14052200000000001</c:v>
                </c:pt>
                <c:pt idx="6">
                  <c:v>0.19049199999999999</c:v>
                </c:pt>
                <c:pt idx="7">
                  <c:v>0.14347599999999999</c:v>
                </c:pt>
                <c:pt idx="8">
                  <c:v>0.12032</c:v>
                </c:pt>
                <c:pt idx="9">
                  <c:v>0.17585100000000001</c:v>
                </c:pt>
                <c:pt idx="10">
                  <c:v>0.236397</c:v>
                </c:pt>
                <c:pt idx="11">
                  <c:v>0.173983</c:v>
                </c:pt>
                <c:pt idx="12">
                  <c:v>0.210648</c:v>
                </c:pt>
                <c:pt idx="13">
                  <c:v>0.1981</c:v>
                </c:pt>
                <c:pt idx="14">
                  <c:v>0.33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07-4FD9-8636-981FB513E152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0.43118800000000002</c:v>
                </c:pt>
                <c:pt idx="1">
                  <c:v>0.35236200000000001</c:v>
                </c:pt>
                <c:pt idx="2">
                  <c:v>0.39157700000000001</c:v>
                </c:pt>
                <c:pt idx="3">
                  <c:v>0.33990399999999998</c:v>
                </c:pt>
                <c:pt idx="4">
                  <c:v>0.52290400000000004</c:v>
                </c:pt>
                <c:pt idx="5">
                  <c:v>0.33260499999999998</c:v>
                </c:pt>
                <c:pt idx="6">
                  <c:v>0.34942699999999999</c:v>
                </c:pt>
                <c:pt idx="7">
                  <c:v>0.40995500000000001</c:v>
                </c:pt>
                <c:pt idx="8">
                  <c:v>0.26304899999999998</c:v>
                </c:pt>
                <c:pt idx="9">
                  <c:v>0.29924899999999999</c:v>
                </c:pt>
                <c:pt idx="10">
                  <c:v>0.48861399999999999</c:v>
                </c:pt>
                <c:pt idx="11">
                  <c:v>0.39538699999999999</c:v>
                </c:pt>
                <c:pt idx="12">
                  <c:v>0.40954499999999999</c:v>
                </c:pt>
                <c:pt idx="13">
                  <c:v>0.34154000000000001</c:v>
                </c:pt>
                <c:pt idx="14">
                  <c:v>0.393438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07-4FD9-8636-981FB513E152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H$2:$H$16</c:f>
              <c:numCache>
                <c:formatCode>General</c:formatCode>
                <c:ptCount val="15"/>
                <c:pt idx="0">
                  <c:v>24.097047400000001</c:v>
                </c:pt>
                <c:pt idx="1">
                  <c:v>24.3324189</c:v>
                </c:pt>
                <c:pt idx="2">
                  <c:v>25.386643800000002</c:v>
                </c:pt>
                <c:pt idx="3">
                  <c:v>25.547456199999999</c:v>
                </c:pt>
                <c:pt idx="4">
                  <c:v>25.5247423</c:v>
                </c:pt>
                <c:pt idx="5">
                  <c:v>26.364961699999999</c:v>
                </c:pt>
                <c:pt idx="6">
                  <c:v>26.762435499999999</c:v>
                </c:pt>
                <c:pt idx="7">
                  <c:v>26.970040999999998</c:v>
                </c:pt>
                <c:pt idx="8">
                  <c:v>27.894104500000001</c:v>
                </c:pt>
                <c:pt idx="9">
                  <c:v>28.1206733</c:v>
                </c:pt>
                <c:pt idx="10">
                  <c:v>27.973042599999999</c:v>
                </c:pt>
                <c:pt idx="11">
                  <c:v>29.087486200000001</c:v>
                </c:pt>
                <c:pt idx="12">
                  <c:v>29.063137999999999</c:v>
                </c:pt>
                <c:pt idx="13">
                  <c:v>29.4908596</c:v>
                </c:pt>
                <c:pt idx="14">
                  <c:v>31.3571601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07-4FD9-8636-981FB513E1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621546842074E-3"/>
          <c:y val="5.4335373949960485E-2"/>
          <c:w val="0.99538389239985303"/>
          <c:h val="4.58513999478988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578335651274336E-2"/>
          <c:y val="0.15029412843408396"/>
          <c:w val="0.93208512400586685"/>
          <c:h val="0.8274616863015915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cí míst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83.960250000000002</c:v>
                </c:pt>
                <c:pt idx="1">
                  <c:v>16.959330000000001</c:v>
                </c:pt>
                <c:pt idx="2">
                  <c:v>78.074250000000006</c:v>
                </c:pt>
                <c:pt idx="3">
                  <c:v>43.096649999999997</c:v>
                </c:pt>
                <c:pt idx="4">
                  <c:v>84.246579999999994</c:v>
                </c:pt>
                <c:pt idx="5">
                  <c:v>39.478960000000001</c:v>
                </c:pt>
                <c:pt idx="6">
                  <c:v>32.520330000000001</c:v>
                </c:pt>
                <c:pt idx="7">
                  <c:v>40.463920000000002</c:v>
                </c:pt>
                <c:pt idx="8">
                  <c:v>55.334000000000003</c:v>
                </c:pt>
                <c:pt idx="9">
                  <c:v>80.75067</c:v>
                </c:pt>
                <c:pt idx="10">
                  <c:v>81.583309999999997</c:v>
                </c:pt>
                <c:pt idx="11">
                  <c:v>59.077809999999999</c:v>
                </c:pt>
                <c:pt idx="12">
                  <c:v>77.130039999999994</c:v>
                </c:pt>
                <c:pt idx="13">
                  <c:v>85.188720000000004</c:v>
                </c:pt>
                <c:pt idx="14">
                  <c:v>70.86395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1A-418E-9206-184B6803502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aktičtí lékaři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3.687192</c:v>
                </c:pt>
                <c:pt idx="1">
                  <c:v>6.0998150000000004</c:v>
                </c:pt>
                <c:pt idx="2">
                  <c:v>0.85073500000000002</c:v>
                </c:pt>
                <c:pt idx="3">
                  <c:v>1.47929</c:v>
                </c:pt>
                <c:pt idx="4">
                  <c:v>0.456621</c:v>
                </c:pt>
                <c:pt idx="5">
                  <c:v>6.6799999999999998E-2</c:v>
                </c:pt>
                <c:pt idx="6">
                  <c:v>5.9620600000000001</c:v>
                </c:pt>
                <c:pt idx="8">
                  <c:v>0.498504</c:v>
                </c:pt>
                <c:pt idx="9">
                  <c:v>0.321716</c:v>
                </c:pt>
                <c:pt idx="10">
                  <c:v>3.3124000000000001E-2</c:v>
                </c:pt>
                <c:pt idx="13">
                  <c:v>0.38222600000000001</c:v>
                </c:pt>
                <c:pt idx="14">
                  <c:v>2.07823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1A-418E-9206-184B6803502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aktičtí lékaři pro děti a dorost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2.33398</c:v>
                </c:pt>
                <c:pt idx="1">
                  <c:v>76.940849999999998</c:v>
                </c:pt>
                <c:pt idx="2">
                  <c:v>21.075019999999999</c:v>
                </c:pt>
                <c:pt idx="3">
                  <c:v>55.424059999999997</c:v>
                </c:pt>
                <c:pt idx="4">
                  <c:v>15.296799999999999</c:v>
                </c:pt>
                <c:pt idx="5">
                  <c:v>55.444220000000001</c:v>
                </c:pt>
                <c:pt idx="6">
                  <c:v>61.517620000000001</c:v>
                </c:pt>
                <c:pt idx="7">
                  <c:v>59.536079999999998</c:v>
                </c:pt>
                <c:pt idx="8">
                  <c:v>44.167499999999997</c:v>
                </c:pt>
                <c:pt idx="9">
                  <c:v>17.2118</c:v>
                </c:pt>
                <c:pt idx="10">
                  <c:v>18.383569999999999</c:v>
                </c:pt>
                <c:pt idx="11">
                  <c:v>40.922190000000001</c:v>
                </c:pt>
                <c:pt idx="12">
                  <c:v>21.79372</c:v>
                </c:pt>
                <c:pt idx="13">
                  <c:v>14.42905</c:v>
                </c:pt>
                <c:pt idx="14">
                  <c:v>26.64626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1A-418E-9206-184B68035028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Ostatní zaříze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1.857528E-2</c:v>
                </c:pt>
                <c:pt idx="5">
                  <c:v>5.0100200399999997</c:v>
                </c:pt>
                <c:pt idx="9">
                  <c:v>1.71581769</c:v>
                </c:pt>
                <c:pt idx="12">
                  <c:v>1.07623318</c:v>
                </c:pt>
                <c:pt idx="14">
                  <c:v>0.41156462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1A-418E-9206-184B680350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G$2:$G$186</c:f>
              <c:numCache>
                <c:formatCode>General</c:formatCode>
                <c:ptCount val="18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3</c:v>
                </c:pt>
                <c:pt idx="52">
                  <c:v>151</c:v>
                </c:pt>
                <c:pt idx="53">
                  <c:v>163</c:v>
                </c:pt>
                <c:pt idx="54">
                  <c:v>171</c:v>
                </c:pt>
                <c:pt idx="55">
                  <c:v>193</c:v>
                </c:pt>
                <c:pt idx="56">
                  <c:v>215</c:v>
                </c:pt>
                <c:pt idx="57">
                  <c:v>209</c:v>
                </c:pt>
                <c:pt idx="58">
                  <c:v>233</c:v>
                </c:pt>
                <c:pt idx="59">
                  <c:v>238</c:v>
                </c:pt>
                <c:pt idx="60">
                  <c:v>267</c:v>
                </c:pt>
                <c:pt idx="61">
                  <c:v>311</c:v>
                </c:pt>
                <c:pt idx="62">
                  <c:v>318</c:v>
                </c:pt>
                <c:pt idx="63">
                  <c:v>345</c:v>
                </c:pt>
                <c:pt idx="64">
                  <c:v>345</c:v>
                </c:pt>
                <c:pt idx="65">
                  <c:v>384</c:v>
                </c:pt>
                <c:pt idx="66">
                  <c:v>389</c:v>
                </c:pt>
                <c:pt idx="67">
                  <c:v>424</c:v>
                </c:pt>
                <c:pt idx="68">
                  <c:v>471</c:v>
                </c:pt>
                <c:pt idx="69">
                  <c:v>487</c:v>
                </c:pt>
                <c:pt idx="70">
                  <c:v>511</c:v>
                </c:pt>
                <c:pt idx="71">
                  <c:v>519</c:v>
                </c:pt>
                <c:pt idx="72">
                  <c:v>527</c:v>
                </c:pt>
                <c:pt idx="73">
                  <c:v>561</c:v>
                </c:pt>
                <c:pt idx="74">
                  <c:v>601</c:v>
                </c:pt>
                <c:pt idx="75">
                  <c:v>644</c:v>
                </c:pt>
                <c:pt idx="76">
                  <c:v>651</c:v>
                </c:pt>
                <c:pt idx="77">
                  <c:v>691</c:v>
                </c:pt>
                <c:pt idx="78">
                  <c:v>716</c:v>
                </c:pt>
                <c:pt idx="79">
                  <c:v>744</c:v>
                </c:pt>
                <c:pt idx="80">
                  <c:v>752</c:v>
                </c:pt>
                <c:pt idx="81">
                  <c:v>781</c:v>
                </c:pt>
                <c:pt idx="82">
                  <c:v>816</c:v>
                </c:pt>
                <c:pt idx="83">
                  <c:v>858</c:v>
                </c:pt>
                <c:pt idx="84">
                  <c:v>868</c:v>
                </c:pt>
                <c:pt idx="85">
                  <c:v>894</c:v>
                </c:pt>
                <c:pt idx="86">
                  <c:v>914</c:v>
                </c:pt>
                <c:pt idx="87">
                  <c:v>929</c:v>
                </c:pt>
                <c:pt idx="88">
                  <c:v>941</c:v>
                </c:pt>
                <c:pt idx="89">
                  <c:v>985</c:v>
                </c:pt>
                <c:pt idx="90">
                  <c:v>990</c:v>
                </c:pt>
                <c:pt idx="91">
                  <c:v>982</c:v>
                </c:pt>
                <c:pt idx="92">
                  <c:v>974</c:v>
                </c:pt>
                <c:pt idx="93">
                  <c:v>969</c:v>
                </c:pt>
                <c:pt idx="94">
                  <c:v>942</c:v>
                </c:pt>
                <c:pt idx="95">
                  <c:v>969</c:v>
                </c:pt>
                <c:pt idx="96">
                  <c:v>992</c:v>
                </c:pt>
                <c:pt idx="97">
                  <c:v>1000</c:v>
                </c:pt>
                <c:pt idx="98">
                  <c:v>1000</c:v>
                </c:pt>
                <c:pt idx="99">
                  <c:v>1012</c:v>
                </c:pt>
                <c:pt idx="100">
                  <c:v>982</c:v>
                </c:pt>
                <c:pt idx="101">
                  <c:v>964</c:v>
                </c:pt>
                <c:pt idx="102">
                  <c:v>980</c:v>
                </c:pt>
                <c:pt idx="103">
                  <c:v>999</c:v>
                </c:pt>
                <c:pt idx="104">
                  <c:v>971</c:v>
                </c:pt>
                <c:pt idx="105">
                  <c:v>936</c:v>
                </c:pt>
                <c:pt idx="106">
                  <c:v>884</c:v>
                </c:pt>
                <c:pt idx="107">
                  <c:v>864</c:v>
                </c:pt>
                <c:pt idx="108">
                  <c:v>808</c:v>
                </c:pt>
                <c:pt idx="109">
                  <c:v>817</c:v>
                </c:pt>
                <c:pt idx="110">
                  <c:v>877</c:v>
                </c:pt>
                <c:pt idx="111">
                  <c:v>862</c:v>
                </c:pt>
                <c:pt idx="112">
                  <c:v>816</c:v>
                </c:pt>
                <c:pt idx="113">
                  <c:v>770</c:v>
                </c:pt>
                <c:pt idx="114">
                  <c:v>696</c:v>
                </c:pt>
                <c:pt idx="115">
                  <c:v>684</c:v>
                </c:pt>
                <c:pt idx="116">
                  <c:v>698</c:v>
                </c:pt>
                <c:pt idx="117">
                  <c:v>722</c:v>
                </c:pt>
                <c:pt idx="118">
                  <c:v>704</c:v>
                </c:pt>
                <c:pt idx="119">
                  <c:v>681</c:v>
                </c:pt>
                <c:pt idx="120">
                  <c:v>640</c:v>
                </c:pt>
                <c:pt idx="121">
                  <c:v>580</c:v>
                </c:pt>
                <c:pt idx="122">
                  <c:v>557</c:v>
                </c:pt>
                <c:pt idx="123">
                  <c:v>5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186</c:f>
              <c:numCache>
                <c:formatCode>General</c:formatCode>
                <c:ptCount val="185"/>
                <c:pt idx="0">
                  <c:v>2.1499938108275587</c:v>
                </c:pt>
                <c:pt idx="1">
                  <c:v>2.1489942988240536</c:v>
                </c:pt>
                <c:pt idx="2">
                  <c:v>2.1563756917328081</c:v>
                </c:pt>
                <c:pt idx="3">
                  <c:v>2.2220662509694518</c:v>
                </c:pt>
                <c:pt idx="4">
                  <c:v>2.3490076857795001</c:v>
                </c:pt>
                <c:pt idx="5">
                  <c:v>2.5056648229639888</c:v>
                </c:pt>
                <c:pt idx="6">
                  <c:v>2.6689272128599746</c:v>
                </c:pt>
                <c:pt idx="7">
                  <c:v>2.7597022170835119</c:v>
                </c:pt>
                <c:pt idx="8">
                  <c:v>2.7634894993383736</c:v>
                </c:pt>
                <c:pt idx="9">
                  <c:v>2.7844883124857778</c:v>
                </c:pt>
                <c:pt idx="10">
                  <c:v>0.20709584228404368</c:v>
                </c:pt>
                <c:pt idx="11">
                  <c:v>0.55286125342098946</c:v>
                </c:pt>
                <c:pt idx="12">
                  <c:v>0.92492594653068261</c:v>
                </c:pt>
                <c:pt idx="13">
                  <c:v>1.3428704468709667</c:v>
                </c:pt>
                <c:pt idx="14">
                  <c:v>1.8215746154633203</c:v>
                </c:pt>
                <c:pt idx="15">
                  <c:v>2.474726350772896</c:v>
                </c:pt>
                <c:pt idx="16">
                  <c:v>3.2262958173138752</c:v>
                </c:pt>
                <c:pt idx="17">
                  <c:v>4.0752726566685098</c:v>
                </c:pt>
                <c:pt idx="18">
                  <c:v>4.964831800229037</c:v>
                </c:pt>
                <c:pt idx="19">
                  <c:v>5.9796446817234861</c:v>
                </c:pt>
                <c:pt idx="20">
                  <c:v>6.9865220280905787</c:v>
                </c:pt>
                <c:pt idx="21">
                  <c:v>8.1285182926197859</c:v>
                </c:pt>
                <c:pt idx="22">
                  <c:v>9.1804172488551359</c:v>
                </c:pt>
                <c:pt idx="23">
                  <c:v>10.418830696230001</c:v>
                </c:pt>
                <c:pt idx="24">
                  <c:v>11.78672416277089</c:v>
                </c:pt>
                <c:pt idx="25">
                  <c:v>13.30313543074859</c:v>
                </c:pt>
                <c:pt idx="26">
                  <c:v>14.947197294775943</c:v>
                </c:pt>
                <c:pt idx="27">
                  <c:v>16.977580490328688</c:v>
                </c:pt>
                <c:pt idx="28">
                  <c:v>18.948832729355825</c:v>
                </c:pt>
                <c:pt idx="29">
                  <c:v>21.035005821232751</c:v>
                </c:pt>
                <c:pt idx="30">
                  <c:v>22.79008070672829</c:v>
                </c:pt>
                <c:pt idx="31">
                  <c:v>24.283364648339056</c:v>
                </c:pt>
                <c:pt idx="32">
                  <c:v>26.458338629574964</c:v>
                </c:pt>
                <c:pt idx="33">
                  <c:v>28.646989117777778</c:v>
                </c:pt>
                <c:pt idx="34">
                  <c:v>31.489840034288211</c:v>
                </c:pt>
                <c:pt idx="35">
                  <c:v>35.917569727058805</c:v>
                </c:pt>
                <c:pt idx="36">
                  <c:v>40.173210690576973</c:v>
                </c:pt>
                <c:pt idx="37">
                  <c:v>44.917326484515712</c:v>
                </c:pt>
                <c:pt idx="38">
                  <c:v>50.222859935349035</c:v>
                </c:pt>
                <c:pt idx="39">
                  <c:v>55.047065351332463</c:v>
                </c:pt>
                <c:pt idx="40">
                  <c:v>61.622436562134602</c:v>
                </c:pt>
                <c:pt idx="41">
                  <c:v>68.056789909912723</c:v>
                </c:pt>
                <c:pt idx="42">
                  <c:v>73.64408921424284</c:v>
                </c:pt>
                <c:pt idx="43">
                  <c:v>80.619933129478653</c:v>
                </c:pt>
                <c:pt idx="44">
                  <c:v>88.07899661871042</c:v>
                </c:pt>
                <c:pt idx="45">
                  <c:v>95.99289157549795</c:v>
                </c:pt>
                <c:pt idx="46">
                  <c:v>105.14804756840543</c:v>
                </c:pt>
                <c:pt idx="47">
                  <c:v>113.32509751051417</c:v>
                </c:pt>
                <c:pt idx="48">
                  <c:v>120.30662358525673</c:v>
                </c:pt>
                <c:pt idx="49">
                  <c:v>126.35260730869122</c:v>
                </c:pt>
                <c:pt idx="50">
                  <c:v>132.55700194229081</c:v>
                </c:pt>
                <c:pt idx="51">
                  <c:v>140.21559433107447</c:v>
                </c:pt>
                <c:pt idx="52">
                  <c:v>147.70800294563014</c:v>
                </c:pt>
                <c:pt idx="53">
                  <c:v>155.93072542142394</c:v>
                </c:pt>
                <c:pt idx="54">
                  <c:v>163.49652986130411</c:v>
                </c:pt>
                <c:pt idx="55">
                  <c:v>171.65081493185716</c:v>
                </c:pt>
                <c:pt idx="56">
                  <c:v>184.77767711514741</c:v>
                </c:pt>
                <c:pt idx="57">
                  <c:v>199.22673147933284</c:v>
                </c:pt>
                <c:pt idx="58">
                  <c:v>214.28313321665527</c:v>
                </c:pt>
                <c:pt idx="59">
                  <c:v>231.28268874017573</c:v>
                </c:pt>
                <c:pt idx="60">
                  <c:v>250.2023933218222</c:v>
                </c:pt>
                <c:pt idx="61">
                  <c:v>273.55373933241361</c:v>
                </c:pt>
                <c:pt idx="62">
                  <c:v>294.60134620266598</c:v>
                </c:pt>
                <c:pt idx="63">
                  <c:v>314.45124331739214</c:v>
                </c:pt>
                <c:pt idx="64">
                  <c:v>332.5686204660027</c:v>
                </c:pt>
                <c:pt idx="65">
                  <c:v>353.67984779847114</c:v>
                </c:pt>
                <c:pt idx="66">
                  <c:v>374.76843161274172</c:v>
                </c:pt>
                <c:pt idx="67">
                  <c:v>395.45393621540632</c:v>
                </c:pt>
                <c:pt idx="68">
                  <c:v>416.22658895811321</c:v>
                </c:pt>
                <c:pt idx="69">
                  <c:v>439.49680756860073</c:v>
                </c:pt>
                <c:pt idx="70">
                  <c:v>463.80650615405699</c:v>
                </c:pt>
                <c:pt idx="71">
                  <c:v>491.69529048648286</c:v>
                </c:pt>
                <c:pt idx="72">
                  <c:v>514.62782032996608</c:v>
                </c:pt>
                <c:pt idx="73">
                  <c:v>542.76377346828315</c:v>
                </c:pt>
                <c:pt idx="74">
                  <c:v>571.70415232551045</c:v>
                </c:pt>
                <c:pt idx="75">
                  <c:v>598.1235515957876</c:v>
                </c:pt>
                <c:pt idx="76">
                  <c:v>627.01965865816146</c:v>
                </c:pt>
                <c:pt idx="77">
                  <c:v>662.56637295883513</c:v>
                </c:pt>
                <c:pt idx="78">
                  <c:v>696.77991904977682</c:v>
                </c:pt>
                <c:pt idx="79">
                  <c:v>736.21371531368322</c:v>
                </c:pt>
                <c:pt idx="80">
                  <c:v>772.53255554566829</c:v>
                </c:pt>
                <c:pt idx="81">
                  <c:v>805.78382447843671</c:v>
                </c:pt>
                <c:pt idx="82">
                  <c:v>841.9893416438631</c:v>
                </c:pt>
                <c:pt idx="83">
                  <c:v>882.02158240072845</c:v>
                </c:pt>
                <c:pt idx="84">
                  <c:v>910.91403168216937</c:v>
                </c:pt>
                <c:pt idx="85">
                  <c:v>942.67992886788625</c:v>
                </c:pt>
                <c:pt idx="86">
                  <c:v>970.43554108544595</c:v>
                </c:pt>
                <c:pt idx="87">
                  <c:v>997.78119122566216</c:v>
                </c:pt>
                <c:pt idx="88">
                  <c:v>1019.29769693552</c:v>
                </c:pt>
                <c:pt idx="89">
                  <c:v>1038.1767751657321</c:v>
                </c:pt>
                <c:pt idx="90">
                  <c:v>1051.0202288728483</c:v>
                </c:pt>
                <c:pt idx="91">
                  <c:v>1060.944426202873</c:v>
                </c:pt>
                <c:pt idx="92">
                  <c:v>1064.9020645552769</c:v>
                </c:pt>
                <c:pt idx="93">
                  <c:v>1065.6035332043584</c:v>
                </c:pt>
                <c:pt idx="94">
                  <c:v>1063.2218293980754</c:v>
                </c:pt>
                <c:pt idx="95">
                  <c:v>1057.9437089167161</c:v>
                </c:pt>
                <c:pt idx="96">
                  <c:v>1049.9571750530026</c:v>
                </c:pt>
                <c:pt idx="97">
                  <c:v>1039.4801235543416</c:v>
                </c:pt>
                <c:pt idx="98">
                  <c:v>1026.8050483601664</c:v>
                </c:pt>
                <c:pt idx="99">
                  <c:v>1011.1816261834061</c:v>
                </c:pt>
                <c:pt idx="100">
                  <c:v>993.97312723803236</c:v>
                </c:pt>
                <c:pt idx="101">
                  <c:v>975.42218856806994</c:v>
                </c:pt>
                <c:pt idx="102">
                  <c:v>955.74204142953727</c:v>
                </c:pt>
                <c:pt idx="103">
                  <c:v>935.12138406555948</c:v>
                </c:pt>
                <c:pt idx="104">
                  <c:v>913.72821583057805</c:v>
                </c:pt>
                <c:pt idx="105">
                  <c:v>891.72266867301209</c:v>
                </c:pt>
                <c:pt idx="106">
                  <c:v>870.19056168921099</c:v>
                </c:pt>
                <c:pt idx="107">
                  <c:v>848.2783968043841</c:v>
                </c:pt>
                <c:pt idx="108">
                  <c:v>826.09522655285684</c:v>
                </c:pt>
                <c:pt idx="109">
                  <c:v>803.7345113132003</c:v>
                </c:pt>
                <c:pt idx="110">
                  <c:v>781.27745039129161</c:v>
                </c:pt>
                <c:pt idx="111">
                  <c:v>758.79312829906974</c:v>
                </c:pt>
                <c:pt idx="112">
                  <c:v>736.34273933010911</c:v>
                </c:pt>
                <c:pt idx="113">
                  <c:v>714.76896532338731</c:v>
                </c:pt>
                <c:pt idx="114">
                  <c:v>693.28816508878606</c:v>
                </c:pt>
                <c:pt idx="115">
                  <c:v>671.94442658932269</c:v>
                </c:pt>
                <c:pt idx="116">
                  <c:v>650.77884492202975</c:v>
                </c:pt>
                <c:pt idx="117">
                  <c:v>629.82785589255423</c:v>
                </c:pt>
                <c:pt idx="118">
                  <c:v>609.12231583988466</c:v>
                </c:pt>
                <c:pt idx="119">
                  <c:v>588.68959493554769</c:v>
                </c:pt>
                <c:pt idx="120">
                  <c:v>569.19261238671868</c:v>
                </c:pt>
                <c:pt idx="121">
                  <c:v>549.73777576364239</c:v>
                </c:pt>
                <c:pt idx="122">
                  <c:v>539.97567465497059</c:v>
                </c:pt>
                <c:pt idx="123">
                  <c:v>530.37703878424622</c:v>
                </c:pt>
                <c:pt idx="124">
                  <c:v>520.95062810160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58-4843-A083-9E75CCD15D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C$2:$C$186</c:f>
              <c:numCache>
                <c:formatCode>General</c:formatCode>
                <c:ptCount val="185"/>
                <c:pt idx="122">
                  <c:v>531.06870896275336</c:v>
                </c:pt>
                <c:pt idx="123">
                  <c:v>512.48677650420518</c:v>
                </c:pt>
                <c:pt idx="124">
                  <c:v>494.24929442182855</c:v>
                </c:pt>
                <c:pt idx="125">
                  <c:v>476.37166385925991</c:v>
                </c:pt>
                <c:pt idx="126">
                  <c:v>458.86700243556277</c:v>
                </c:pt>
                <c:pt idx="127">
                  <c:v>442.24450407417885</c:v>
                </c:pt>
                <c:pt idx="128">
                  <c:v>425.9789175497458</c:v>
                </c:pt>
                <c:pt idx="129">
                  <c:v>410.07925837795983</c:v>
                </c:pt>
                <c:pt idx="130">
                  <c:v>394.55301338654505</c:v>
                </c:pt>
                <c:pt idx="131">
                  <c:v>379.40666655287828</c:v>
                </c:pt>
                <c:pt idx="132">
                  <c:v>364.938081911832</c:v>
                </c:pt>
                <c:pt idx="133">
                  <c:v>351.34880160323451</c:v>
                </c:pt>
                <c:pt idx="134">
                  <c:v>338.73424300405543</c:v>
                </c:pt>
                <c:pt idx="135">
                  <c:v>327.12505919583464</c:v>
                </c:pt>
                <c:pt idx="136">
                  <c:v>316.51603557659615</c:v>
                </c:pt>
                <c:pt idx="137">
                  <c:v>306.8823202417754</c:v>
                </c:pt>
                <c:pt idx="138">
                  <c:v>298.18796656555611</c:v>
                </c:pt>
                <c:pt idx="139">
                  <c:v>290.38750420492232</c:v>
                </c:pt>
                <c:pt idx="140">
                  <c:v>283.42800118808822</c:v>
                </c:pt>
                <c:pt idx="141">
                  <c:v>277.24938634024738</c:v>
                </c:pt>
                <c:pt idx="142">
                  <c:v>271.7901239807095</c:v>
                </c:pt>
                <c:pt idx="143">
                  <c:v>266.9864776554283</c:v>
                </c:pt>
                <c:pt idx="144">
                  <c:v>262.77569759856374</c:v>
                </c:pt>
                <c:pt idx="145">
                  <c:v>259.09802764894295</c:v>
                </c:pt>
                <c:pt idx="146">
                  <c:v>255.89037397781516</c:v>
                </c:pt>
                <c:pt idx="147">
                  <c:v>253.07832081749058</c:v>
                </c:pt>
                <c:pt idx="148">
                  <c:v>250.58794500798206</c:v>
                </c:pt>
                <c:pt idx="149">
                  <c:v>248.3552549320971</c:v>
                </c:pt>
                <c:pt idx="150">
                  <c:v>246.32640922790671</c:v>
                </c:pt>
                <c:pt idx="151">
                  <c:v>244.45579039767617</c:v>
                </c:pt>
                <c:pt idx="152">
                  <c:v>242.70466204899367</c:v>
                </c:pt>
                <c:pt idx="153">
                  <c:v>241.03963019050209</c:v>
                </c:pt>
                <c:pt idx="154">
                  <c:v>239.4299293624334</c:v>
                </c:pt>
                <c:pt idx="155">
                  <c:v>237.84872641330512</c:v>
                </c:pt>
                <c:pt idx="156">
                  <c:v>236.2741715915362</c:v>
                </c:pt>
                <c:pt idx="157">
                  <c:v>234.68829421478921</c:v>
                </c:pt>
                <c:pt idx="158">
                  <c:v>233.07733613393634</c:v>
                </c:pt>
                <c:pt idx="159">
                  <c:v>231.43082296500617</c:v>
                </c:pt>
                <c:pt idx="160">
                  <c:v>229.74084137336703</c:v>
                </c:pt>
                <c:pt idx="161">
                  <c:v>228.00198730637354</c:v>
                </c:pt>
                <c:pt idx="162">
                  <c:v>226.21086589821056</c:v>
                </c:pt>
                <c:pt idx="163">
                  <c:v>224.36571321938723</c:v>
                </c:pt>
                <c:pt idx="164">
                  <c:v>222.4658503920075</c:v>
                </c:pt>
                <c:pt idx="165">
                  <c:v>220.5116202322296</c:v>
                </c:pt>
                <c:pt idx="166">
                  <c:v>218.50452102336342</c:v>
                </c:pt>
                <c:pt idx="167">
                  <c:v>216.44687437049802</c:v>
                </c:pt>
                <c:pt idx="168">
                  <c:v>214.34142802903094</c:v>
                </c:pt>
                <c:pt idx="169">
                  <c:v>212.19086839279984</c:v>
                </c:pt>
                <c:pt idx="170">
                  <c:v>209.99792514232479</c:v>
                </c:pt>
                <c:pt idx="171">
                  <c:v>207.76523812347352</c:v>
                </c:pt>
                <c:pt idx="172">
                  <c:v>205.49582505782104</c:v>
                </c:pt>
                <c:pt idx="173">
                  <c:v>203.19294493118213</c:v>
                </c:pt>
                <c:pt idx="174">
                  <c:v>200.85983847160608</c:v>
                </c:pt>
                <c:pt idx="175">
                  <c:v>198.49975900670705</c:v>
                </c:pt>
                <c:pt idx="176">
                  <c:v>196.11586997172475</c:v>
                </c:pt>
                <c:pt idx="177">
                  <c:v>193.71120054450739</c:v>
                </c:pt>
                <c:pt idx="178">
                  <c:v>191.28864240225809</c:v>
                </c:pt>
                <c:pt idx="179">
                  <c:v>188.8509490408573</c:v>
                </c:pt>
                <c:pt idx="180">
                  <c:v>186.40062455208681</c:v>
                </c:pt>
                <c:pt idx="181">
                  <c:v>183.94005855634848</c:v>
                </c:pt>
                <c:pt idx="182">
                  <c:v>181.47153727936436</c:v>
                </c:pt>
                <c:pt idx="183">
                  <c:v>178.99722519194012</c:v>
                </c:pt>
                <c:pt idx="184">
                  <c:v>176.51915635967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58-4843-A083-9E75CCD15D5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D$2:$D$186</c:f>
              <c:numCache>
                <c:formatCode>General</c:formatCode>
                <c:ptCount val="185"/>
                <c:pt idx="122">
                  <c:v>531.06870896275336</c:v>
                </c:pt>
                <c:pt idx="123">
                  <c:v>512.48677650420518</c:v>
                </c:pt>
                <c:pt idx="124">
                  <c:v>494.24929442182855</c:v>
                </c:pt>
                <c:pt idx="125">
                  <c:v>477.37053773839199</c:v>
                </c:pt>
                <c:pt idx="126">
                  <c:v>462.53542294430656</c:v>
                </c:pt>
                <c:pt idx="127">
                  <c:v>450.60270381070836</c:v>
                </c:pt>
                <c:pt idx="128">
                  <c:v>441.20743624266157</c:v>
                </c:pt>
                <c:pt idx="129">
                  <c:v>434.42536900509612</c:v>
                </c:pt>
                <c:pt idx="130">
                  <c:v>430.28230638656566</c:v>
                </c:pt>
                <c:pt idx="131">
                  <c:v>428.7760537113723</c:v>
                </c:pt>
                <c:pt idx="132">
                  <c:v>429.87633843875085</c:v>
                </c:pt>
                <c:pt idx="133">
                  <c:v>433.52840384348417</c:v>
                </c:pt>
                <c:pt idx="134">
                  <c:v>439.65168815848443</c:v>
                </c:pt>
                <c:pt idx="135">
                  <c:v>448.15663329147196</c:v>
                </c:pt>
                <c:pt idx="136">
                  <c:v>458.93981208762546</c:v>
                </c:pt>
                <c:pt idx="137">
                  <c:v>471.89326959933436</c:v>
                </c:pt>
                <c:pt idx="138">
                  <c:v>486.91006233992852</c:v>
                </c:pt>
                <c:pt idx="139">
                  <c:v>503.8616642814016</c:v>
                </c:pt>
                <c:pt idx="140">
                  <c:v>522.56966121090295</c:v>
                </c:pt>
                <c:pt idx="141">
                  <c:v>542.8452714993706</c:v>
                </c:pt>
                <c:pt idx="142">
                  <c:v>564.5199541385881</c:v>
                </c:pt>
                <c:pt idx="143">
                  <c:v>587.44490573770793</c:v>
                </c:pt>
                <c:pt idx="144">
                  <c:v>611.48443406507454</c:v>
                </c:pt>
                <c:pt idx="145">
                  <c:v>636.51198831382749</c:v>
                </c:pt>
                <c:pt idx="146">
                  <c:v>662.40567602425949</c:v>
                </c:pt>
                <c:pt idx="147">
                  <c:v>689.0397639107689</c:v>
                </c:pt>
                <c:pt idx="148">
                  <c:v>716.28975354188231</c:v>
                </c:pt>
                <c:pt idx="149">
                  <c:v>744.03649573443045</c:v>
                </c:pt>
                <c:pt idx="150">
                  <c:v>772.16286436114649</c:v>
                </c:pt>
                <c:pt idx="151">
                  <c:v>800.55570179675692</c:v>
                </c:pt>
                <c:pt idx="152">
                  <c:v>829.10345299003075</c:v>
                </c:pt>
                <c:pt idx="153">
                  <c:v>857.69456772036813</c:v>
                </c:pt>
                <c:pt idx="154">
                  <c:v>886.21534131561202</c:v>
                </c:pt>
                <c:pt idx="155">
                  <c:v>914.54993595483825</c:v>
                </c:pt>
                <c:pt idx="156">
                  <c:v>942.58110210517293</c:v>
                </c:pt>
                <c:pt idx="157">
                  <c:v>970.18975074525304</c:v>
                </c:pt>
                <c:pt idx="158">
                  <c:v>997.25600637926061</c:v>
                </c:pt>
                <c:pt idx="159">
                  <c:v>1023.6608755108638</c:v>
                </c:pt>
                <c:pt idx="160">
                  <c:v>1049.2862859680522</c:v>
                </c:pt>
                <c:pt idx="161">
                  <c:v>1074.0207072473386</c:v>
                </c:pt>
                <c:pt idx="162">
                  <c:v>1097.7571349395025</c:v>
                </c:pt>
                <c:pt idx="163">
                  <c:v>1120.392977736559</c:v>
                </c:pt>
                <c:pt idx="164">
                  <c:v>1141.8297117110851</c:v>
                </c:pt>
                <c:pt idx="165">
                  <c:v>1161.9750459039567</c:v>
                </c:pt>
                <c:pt idx="166">
                  <c:v>1180.7431256214106</c:v>
                </c:pt>
                <c:pt idx="167">
                  <c:v>1198.0544037820048</c:v>
                </c:pt>
                <c:pt idx="168">
                  <c:v>1213.8364446276032</c:v>
                </c:pt>
                <c:pt idx="169">
                  <c:v>1228.0242810770612</c:v>
                </c:pt>
                <c:pt idx="170">
                  <c:v>1240.5607609957756</c:v>
                </c:pt>
                <c:pt idx="171">
                  <c:v>1251.3969574277176</c:v>
                </c:pt>
                <c:pt idx="172">
                  <c:v>1260.4924716725523</c:v>
                </c:pt>
                <c:pt idx="173">
                  <c:v>1267.8153526317299</c:v>
                </c:pt>
                <c:pt idx="174">
                  <c:v>1273.3427608542424</c:v>
                </c:pt>
                <c:pt idx="175">
                  <c:v>1277.0610119220764</c:v>
                </c:pt>
                <c:pt idx="176">
                  <c:v>1278.9653050507345</c:v>
                </c:pt>
                <c:pt idx="177">
                  <c:v>1279.05958424403</c:v>
                </c:pt>
                <c:pt idx="178">
                  <c:v>1277.3565158239369</c:v>
                </c:pt>
                <c:pt idx="179">
                  <c:v>1273.8773732171928</c:v>
                </c:pt>
                <c:pt idx="180">
                  <c:v>1268.651831404379</c:v>
                </c:pt>
                <c:pt idx="181">
                  <c:v>1261.7176651184484</c:v>
                </c:pt>
                <c:pt idx="182">
                  <c:v>1253.1203594585052</c:v>
                </c:pt>
                <c:pt idx="183">
                  <c:v>1242.9125891880776</c:v>
                </c:pt>
                <c:pt idx="184">
                  <c:v>1231.1536834568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58-4843-A083-9E75CCD15D5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F$2:$F$186</c:f>
              <c:numCache>
                <c:formatCode>General</c:formatCode>
                <c:ptCount val="185"/>
                <c:pt idx="128">
                  <c:v>438.66998467711016</c:v>
                </c:pt>
                <c:pt idx="129">
                  <c:v>435.27895105832749</c:v>
                </c:pt>
                <c:pt idx="130">
                  <c:v>433.2074197490623</c:v>
                </c:pt>
                <c:pt idx="131">
                  <c:v>432.45429341146553</c:v>
                </c:pt>
                <c:pt idx="132">
                  <c:v>433.00443577515478</c:v>
                </c:pt>
                <c:pt idx="133">
                  <c:v>434.83046847752144</c:v>
                </c:pt>
                <c:pt idx="134">
                  <c:v>437.8921106350216</c:v>
                </c:pt>
                <c:pt idx="135">
                  <c:v>442.14458320151539</c:v>
                </c:pt>
                <c:pt idx="136">
                  <c:v>447.53617259959219</c:v>
                </c:pt>
                <c:pt idx="137">
                  <c:v>454.01290135544656</c:v>
                </c:pt>
                <c:pt idx="138">
                  <c:v>461.52129772574364</c:v>
                </c:pt>
                <c:pt idx="139">
                  <c:v>469.99709869648018</c:v>
                </c:pt>
                <c:pt idx="140">
                  <c:v>479.35109716123088</c:v>
                </c:pt>
                <c:pt idx="141">
                  <c:v>489.48890230546465</c:v>
                </c:pt>
                <c:pt idx="142">
                  <c:v>500.3262436250734</c:v>
                </c:pt>
                <c:pt idx="143">
                  <c:v>511.78871942463343</c:v>
                </c:pt>
                <c:pt idx="144">
                  <c:v>523.80848358831668</c:v>
                </c:pt>
                <c:pt idx="145">
                  <c:v>536.32226071269326</c:v>
                </c:pt>
                <c:pt idx="146">
                  <c:v>549.26910456790927</c:v>
                </c:pt>
                <c:pt idx="147">
                  <c:v>562.58614851116386</c:v>
                </c:pt>
                <c:pt idx="148">
                  <c:v>576.2111433267205</c:v>
                </c:pt>
                <c:pt idx="149">
                  <c:v>590.08451442299463</c:v>
                </c:pt>
                <c:pt idx="150">
                  <c:v>604.14769873635271</c:v>
                </c:pt>
                <c:pt idx="151">
                  <c:v>618.34411745415775</c:v>
                </c:pt>
                <c:pt idx="152">
                  <c:v>632.61799305079478</c:v>
                </c:pt>
                <c:pt idx="153">
                  <c:v>646.91355041596341</c:v>
                </c:pt>
                <c:pt idx="154">
                  <c:v>661.17393721358542</c:v>
                </c:pt>
                <c:pt idx="155">
                  <c:v>675.34123453319864</c:v>
                </c:pt>
                <c:pt idx="156">
                  <c:v>689.35681760836599</c:v>
                </c:pt>
                <c:pt idx="157">
                  <c:v>703.16114192840598</c:v>
                </c:pt>
                <c:pt idx="158">
                  <c:v>716.69426974540977</c:v>
                </c:pt>
                <c:pt idx="159">
                  <c:v>729.89670431121147</c:v>
                </c:pt>
                <c:pt idx="160">
                  <c:v>742.70940953980551</c:v>
                </c:pt>
                <c:pt idx="161">
                  <c:v>755.07662017944892</c:v>
                </c:pt>
                <c:pt idx="162">
                  <c:v>766.94483402553067</c:v>
                </c:pt>
                <c:pt idx="163">
                  <c:v>778.26275542405881</c:v>
                </c:pt>
                <c:pt idx="164">
                  <c:v>788.98112241132196</c:v>
                </c:pt>
                <c:pt idx="165">
                  <c:v>799.05378950775764</c:v>
                </c:pt>
                <c:pt idx="166">
                  <c:v>808.43782936648483</c:v>
                </c:pt>
                <c:pt idx="167">
                  <c:v>817.09346844678169</c:v>
                </c:pt>
                <c:pt idx="168">
                  <c:v>824.98448886958124</c:v>
                </c:pt>
                <c:pt idx="169">
                  <c:v>832.07840709431014</c:v>
                </c:pt>
                <c:pt idx="170">
                  <c:v>838.34664705366743</c:v>
                </c:pt>
                <c:pt idx="171">
                  <c:v>843.76474526963818</c:v>
                </c:pt>
                <c:pt idx="172">
                  <c:v>848.31250239205553</c:v>
                </c:pt>
                <c:pt idx="173">
                  <c:v>851.97394287164423</c:v>
                </c:pt>
                <c:pt idx="174">
                  <c:v>854.73764698290063</c:v>
                </c:pt>
                <c:pt idx="175">
                  <c:v>856.59677251681785</c:v>
                </c:pt>
                <c:pt idx="176">
                  <c:v>857.54891908114666</c:v>
                </c:pt>
                <c:pt idx="177">
                  <c:v>857.59605867779453</c:v>
                </c:pt>
                <c:pt idx="178">
                  <c:v>856.74452446774796</c:v>
                </c:pt>
                <c:pt idx="179">
                  <c:v>855.00495316437593</c:v>
                </c:pt>
                <c:pt idx="180">
                  <c:v>852.39218225796901</c:v>
                </c:pt>
                <c:pt idx="181">
                  <c:v>848.92509911500349</c:v>
                </c:pt>
                <c:pt idx="182">
                  <c:v>844.6264462850321</c:v>
                </c:pt>
                <c:pt idx="183">
                  <c:v>839.52256114981844</c:v>
                </c:pt>
                <c:pt idx="184">
                  <c:v>833.643108284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1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5142479013221083"/>
          <c:y val="0.4124999746247555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  <c:pt idx="12">
                  <c:v>leden*</c:v>
                </c:pt>
              </c:strCache>
            </c:strRef>
          </c:cat>
          <c:val>
            <c:numRef>
              <c:f>List1!$B$2:$B$14</c:f>
              <c:numCache>
                <c:formatCode>#,##0</c:formatCode>
                <c:ptCount val="13"/>
                <c:pt idx="0">
                  <c:v>14248</c:v>
                </c:pt>
                <c:pt idx="1">
                  <c:v>22149</c:v>
                </c:pt>
                <c:pt idx="2">
                  <c:v>57094</c:v>
                </c:pt>
                <c:pt idx="3">
                  <c:v>83956</c:v>
                </c:pt>
                <c:pt idx="4">
                  <c:v>120219</c:v>
                </c:pt>
                <c:pt idx="5">
                  <c:v>148078</c:v>
                </c:pt>
                <c:pt idx="6">
                  <c:v>100326</c:v>
                </c:pt>
                <c:pt idx="7">
                  <c:v>53653</c:v>
                </c:pt>
                <c:pt idx="8">
                  <c:v>15625</c:v>
                </c:pt>
                <c:pt idx="9">
                  <c:v>20215</c:v>
                </c:pt>
                <c:pt idx="10">
                  <c:v>66389</c:v>
                </c:pt>
                <c:pt idx="11">
                  <c:v>107148</c:v>
                </c:pt>
                <c:pt idx="12">
                  <c:v>260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  <c:pt idx="12">
                  <c:v>leden*</c:v>
                </c:pt>
              </c:strCache>
            </c:strRef>
          </c:cat>
          <c:val>
            <c:numRef>
              <c:f>List1!$B$2:$B$14</c:f>
              <c:numCache>
                <c:formatCode>#,##0</c:formatCode>
                <c:ptCount val="13"/>
                <c:pt idx="0">
                  <c:v>1556</c:v>
                </c:pt>
                <c:pt idx="1">
                  <c:v>10841</c:v>
                </c:pt>
                <c:pt idx="2">
                  <c:v>11737</c:v>
                </c:pt>
                <c:pt idx="3">
                  <c:v>29783</c:v>
                </c:pt>
                <c:pt idx="4">
                  <c:v>29138</c:v>
                </c:pt>
                <c:pt idx="5">
                  <c:v>104252</c:v>
                </c:pt>
                <c:pt idx="6">
                  <c:v>70731</c:v>
                </c:pt>
                <c:pt idx="7">
                  <c:v>41158</c:v>
                </c:pt>
                <c:pt idx="8">
                  <c:v>10526</c:v>
                </c:pt>
                <c:pt idx="9">
                  <c:v>4664</c:v>
                </c:pt>
                <c:pt idx="10">
                  <c:v>11924</c:v>
                </c:pt>
                <c:pt idx="11">
                  <c:v>14200</c:v>
                </c:pt>
                <c:pt idx="12">
                  <c:v>2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B54-4422-9C8B-EB958413C8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6</c:f>
              <c:strCache>
                <c:ptCount val="5"/>
                <c:pt idx="0">
                  <c:v>září</c:v>
                </c:pt>
                <c:pt idx="1">
                  <c:v>říjen</c:v>
                </c:pt>
                <c:pt idx="2">
                  <c:v>listopad</c:v>
                </c:pt>
                <c:pt idx="3">
                  <c:v>prosinec</c:v>
                </c:pt>
                <c:pt idx="4">
                  <c:v>leden*</c:v>
                </c:pt>
              </c:strCache>
            </c:strRef>
          </c:cat>
          <c:val>
            <c:numRef>
              <c:f>List1!$B$2:$B$6</c:f>
              <c:numCache>
                <c:formatCode>#,##0</c:formatCode>
                <c:ptCount val="5"/>
                <c:pt idx="0">
                  <c:v>206</c:v>
                </c:pt>
                <c:pt idx="1">
                  <c:v>10509</c:v>
                </c:pt>
                <c:pt idx="2">
                  <c:v>37839</c:v>
                </c:pt>
                <c:pt idx="3">
                  <c:v>86538</c:v>
                </c:pt>
                <c:pt idx="4">
                  <c:v>22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44770919238001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ČR</c:v>
                </c:pt>
                <c:pt idx="3">
                  <c:v>Jihočeský kraj</c:v>
                </c:pt>
                <c:pt idx="4">
                  <c:v>Královéhradecký kraj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Zlíns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6.087212489999999</c:v>
                </c:pt>
                <c:pt idx="1">
                  <c:v>64.751821050000004</c:v>
                </c:pt>
                <c:pt idx="2">
                  <c:v>64.036617469999996</c:v>
                </c:pt>
                <c:pt idx="3">
                  <c:v>63.452469190000002</c:v>
                </c:pt>
                <c:pt idx="4">
                  <c:v>63.355500970000001</c:v>
                </c:pt>
                <c:pt idx="5">
                  <c:v>63.048587150000003</c:v>
                </c:pt>
                <c:pt idx="6">
                  <c:v>61.09215133</c:v>
                </c:pt>
                <c:pt idx="7">
                  <c:v>60.931469270000001</c:v>
                </c:pt>
                <c:pt idx="8">
                  <c:v>60.506332550000003</c:v>
                </c:pt>
                <c:pt idx="9">
                  <c:v>59.45074932</c:v>
                </c:pt>
                <c:pt idx="10">
                  <c:v>59.181877989999997</c:v>
                </c:pt>
                <c:pt idx="11">
                  <c:v>58.991000120000002</c:v>
                </c:pt>
                <c:pt idx="12">
                  <c:v>58.79921263</c:v>
                </c:pt>
                <c:pt idx="13">
                  <c:v>56.75646528</c:v>
                </c:pt>
                <c:pt idx="14">
                  <c:v>50.97893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9D1AF-A322-4DDC-936B-94D227551E32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77612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6F62-5E63-4E8B-AA69-5851462FB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1700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7797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01886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39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0014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399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CEB9BA-4054-4603-945D-A1EF09634E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505C839-E938-4833-8347-D2CB82AB40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B36554E-B24E-4BD8-875E-1AA52DD4F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B3AD2A-FC6B-4131-B7A3-743336930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C13D6EC-72FC-4948-BFDF-DE48ABB08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1150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115B94-F3C5-40F8-9AC5-07811EACC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B2EFD8-520F-4B08-9270-723635A682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419C64-73DA-4ED7-92EF-564A16F1D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00023CF-E4B0-41C6-8BF3-D03CF130D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6A99045-F4B1-46A5-A039-E453F3A55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5471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8912A6FA-536F-405B-B543-8ED88E2DD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D6EEEBB-33A3-455F-98BB-29374C0033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23FB4AB-B0E8-4C0A-BAB9-20B80C605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ADAF440-D292-45A2-967D-738537C0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2F2DB0-D97B-4684-BB8D-7642619F1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4904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6890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0297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241257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39991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77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083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95664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345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BF504D-1307-4C38-B3E6-C41FDB92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EDB08F05-F28F-460B-94F3-EBE4A23D0A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8C62A6-7E82-492E-B6B1-6C8637FEF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93DA0D5-56CE-4DD6-8C1A-7CCA94416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95B101A-E5C5-4136-A56C-7FEE87AB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0030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0422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651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8704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213831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7352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65591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0902266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3579644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11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88486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11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4180440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6462A3-4614-4CCF-B066-ED14F7851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3A9A065F-A4AE-46CD-8CA4-E86C2C9DB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EC95BD3-67F6-4B1B-804E-C48336310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264C30-9A4B-4261-B882-CAF7C9861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9E76F8A-A8AC-4D9D-AA5B-7917B3B10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73454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11.01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9667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11.01.2022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18569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11.01.2022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7631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11.01.2022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7513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11.01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648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11.01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4439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11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681659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11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7712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CC1D3C-3C45-4CDE-8C50-E9B54531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CDDE7F67-DFE1-4955-A5EC-578B6D2345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07BCCAA2-482E-417A-BB45-47228BCC1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03773A-C9D4-4C39-95F3-76F9E89A5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20B03AC-2A32-4470-A086-A921220A2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D0128CD-27B6-4FCF-BE55-E570B38A6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463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9EC43F7-4CE4-4D42-941A-E4BC3241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423597C-D66C-416D-B6BF-FA406C61FF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7EE5280B-A5BD-4A51-A5D9-249AE953D2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0CF8BFCA-090B-4561-8E1A-D7426A78FC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213BB2F4-F03D-4261-A0C3-78AE02EE7F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9DEA5A8-9BE9-4937-B95A-6EEFDCB2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2FA513E-9142-45F3-B525-297A1B230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174F380-EE16-43EA-811B-17EB29DAC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449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04B422-81D7-481C-903D-BAB87D09B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A47B207-6EE8-4462-841C-55EFF3CD1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C25E343-B5B8-4B55-9DDE-AB5AA4FB4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F32F3F1-C931-4867-B21E-9D323C88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922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DBEC7E7-E04C-46DC-A7DC-C606EB4E6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1DC139F-B21F-418A-854A-1F23CEB31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DF6473-2FF0-4356-A485-8BE066305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47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D7083E-BB5E-4816-B292-BBBDFBD9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2EA17A9C-449F-44C2-8F73-5D77D797A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02D037AE-C6BA-4F6B-B05A-098AA7B13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AB0551D-E99B-40EB-BCE7-60FE25B05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A31DD6C-30D4-4D32-B96B-50000C03B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28D9CD2-70DE-4358-954A-E3FCA931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8329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753F86-29A7-45C4-B836-9DDBEE813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AB6EFE1-3019-4953-A852-8F1E784A6C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320AF383-0FAC-428D-B633-F2C750B262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07AD49-78D1-4875-97D4-7193EB1C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CBFD1B3-EFC4-46BD-A519-B1292B648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A87929F-8265-44A8-8A44-7EE299BBA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633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DE04B09-BE14-4E60-8073-0F7D5FCB1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F7DE8703-4F80-40B2-8893-EE8D971F7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7BB1138-4576-4962-887C-561E9A6F6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BC2186-01DB-4510-8A05-784FE9AA5AD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9C2005D-17A7-4B07-8A8E-9351123D3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39EDCC0-E801-427D-BD3F-073A1A68E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4366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6057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11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61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onemocneni-aktualne.mzcr.cz/covid-19/kraje/HKK" TargetMode="External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chart" Target="../charts/chart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9742A18-5492-4B4E-B61F-49006AF7E37A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12BC6F6-7BA8-4F55-8619-68E4F90A1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78800"/>
            <a:ext cx="9144000" cy="2250291"/>
          </a:xfrm>
        </p:spPr>
        <p:txBody>
          <a:bodyPr>
            <a:noAutofit/>
          </a:bodyPr>
          <a:lstStyle/>
          <a:p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řehled epidemické situace a stavu očkování</a:t>
            </a:r>
            <a:b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 Královéhradeckém kraj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D649B9A-D1EE-41AE-A9D4-4B276E1A9D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00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ukončených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9. 1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342 756</a:t>
            </a:r>
          </a:p>
        </p:txBody>
      </p:sp>
    </p:spTree>
    <p:extLst>
      <p:ext uri="{BB962C8B-B14F-4D97-AF65-F5344CB8AC3E}">
        <p14:creationId xmlns:p14="http://schemas.microsoft.com/office/powerpoint/2010/main" val="3001250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 posilující dávkou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9. 1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>
                <a:solidFill>
                  <a:srgbClr val="2B2B82"/>
                </a:solidFill>
                <a:latin typeface="Franklin Gothic Book" panose="020B0503020102020204"/>
              </a:rPr>
              <a:t>157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557</a:t>
            </a:r>
          </a:p>
        </p:txBody>
      </p:sp>
    </p:spTree>
    <p:extLst>
      <p:ext uri="{BB962C8B-B14F-4D97-AF65-F5344CB8AC3E}">
        <p14:creationId xmlns:p14="http://schemas.microsoft.com/office/powerpoint/2010/main" val="2822179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oočkovanost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8" name="Zástupný obsah 7">
            <a:extLst>
              <a:ext uri="{FF2B5EF4-FFF2-40B4-BE49-F238E27FC236}">
                <a16:creationId xmlns:a16="http://schemas.microsoft.com/office/drawing/2014/main" id="{FF2AED34-CBE6-43FF-BDAE-A9C29E6AF8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082297" y="1348966"/>
            <a:ext cx="8139065" cy="4827997"/>
          </a:xfrm>
        </p:spPr>
      </p:pic>
    </p:spTree>
    <p:extLst>
      <p:ext uri="{BB962C8B-B14F-4D97-AF65-F5344CB8AC3E}">
        <p14:creationId xmlns:p14="http://schemas.microsoft.com/office/powerpoint/2010/main" val="26237767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podání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/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/>
        </p:nvGraphicFramePr>
        <p:xfrm>
          <a:off x="52384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2 8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3 9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3 0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8 3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8 9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6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1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 0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 7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4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2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1 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8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 6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251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Rectangle 4">
            <a:extLst>
              <a:ext uri="{FF2B5EF4-FFF2-40B4-BE49-F238E27FC236}">
                <a16:creationId xmlns:a16="http://schemas.microsoft.com/office/drawing/2014/main" id="{B5311BF1-5ED9-41AC-B92C-E95A673A93F0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Rectangle 99">
            <a:extLst>
              <a:ext uri="{FF2B5EF4-FFF2-40B4-BE49-F238E27FC236}">
                <a16:creationId xmlns:a16="http://schemas.microsoft.com/office/drawing/2014/main" id="{799246A8-1EE1-4A4D-B48B-91BA6E17A535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Rectangle 100">
            <a:extLst>
              <a:ext uri="{FF2B5EF4-FFF2-40B4-BE49-F238E27FC236}">
                <a16:creationId xmlns:a16="http://schemas.microsoft.com/office/drawing/2014/main" id="{C67230FF-6DD9-4760-85BE-4FDD4D9517B1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Rectangle 101">
            <a:extLst>
              <a:ext uri="{FF2B5EF4-FFF2-40B4-BE49-F238E27FC236}">
                <a16:creationId xmlns:a16="http://schemas.microsoft.com/office/drawing/2014/main" id="{763E2ECD-5C44-46EF-819F-F5018A03A639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03">
            <a:extLst>
              <a:ext uri="{FF2B5EF4-FFF2-40B4-BE49-F238E27FC236}">
                <a16:creationId xmlns:a16="http://schemas.microsoft.com/office/drawing/2014/main" id="{70E915B1-6478-48E4-BC21-9CFED2EFEE84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6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TextBox 104">
            <a:extLst>
              <a:ext uri="{FF2B5EF4-FFF2-40B4-BE49-F238E27FC236}">
                <a16:creationId xmlns:a16="http://schemas.microsoft.com/office/drawing/2014/main" id="{5BAE935E-F72F-4C15-BC63-2D6B6878BE37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6,00–61,99</a:t>
            </a:r>
          </a:p>
        </p:txBody>
      </p:sp>
      <p:sp>
        <p:nvSpPr>
          <p:cNvPr id="122" name="TextBox 105">
            <a:extLst>
              <a:ext uri="{FF2B5EF4-FFF2-40B4-BE49-F238E27FC236}">
                <a16:creationId xmlns:a16="http://schemas.microsoft.com/office/drawing/2014/main" id="{A2AE923E-B0B2-4B49-96E8-D6CC366A2C88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2,00–64,99</a:t>
            </a:r>
          </a:p>
        </p:txBody>
      </p:sp>
      <p:sp>
        <p:nvSpPr>
          <p:cNvPr id="123" name="TextBox 106">
            <a:extLst>
              <a:ext uri="{FF2B5EF4-FFF2-40B4-BE49-F238E27FC236}">
                <a16:creationId xmlns:a16="http://schemas.microsoft.com/office/drawing/2014/main" id="{34BA619D-FA91-4782-9BC5-4373585B8F99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,0</a:t>
            </a:r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A0FABA55-A6D6-4F85-8AFF-63C0F85B3134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2" name="TextBox 6">
            <a:extLst>
              <a:ext uri="{FF2B5EF4-FFF2-40B4-BE49-F238E27FC236}">
                <a16:creationId xmlns:a16="http://schemas.microsoft.com/office/drawing/2014/main" id="{472CBAC0-5946-4465-9EE6-68C518EFE2ED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4008526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/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2E392B-240E-4C0F-AD74-974F8D3293FC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73343B1-38DB-4454-BEC7-7D783C80D202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400BFFE-C06B-4B17-AE74-5D4CCABA1F19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0607D2D-10F6-4550-A76A-3631C17394BF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16C5501-0A0D-483E-9980-85832796A62C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824DF73-D1DC-4B67-9B05-DA2B841A6A02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,00–62,99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234E8BA-E79D-46F8-95EB-7AB2E601299E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,00–64,99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7F0896-A4D3-4EE1-86C6-EACE5FA93733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,0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/>
        </p:nvGraphicFramePr>
        <p:xfrm>
          <a:off x="52003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 8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 7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4 7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3 0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 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7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 6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 0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 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 8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 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 9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 6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714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E91BDFE-6512-417D-AECA-5707BFBB91D5}"/>
              </a:ext>
            </a:extLst>
          </p:cNvPr>
          <p:cNvSpPr/>
          <p:nvPr/>
        </p:nvSpPr>
        <p:spPr>
          <a:xfrm>
            <a:off x="1214957" y="6481378"/>
            <a:ext cx="46794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dliště není uvedeno u 139 753 osob z počáteční fáze vakcinace</a:t>
            </a: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F994E4CD-FA4E-4A9F-877A-7C82D4A14E12}"/>
              </a:ext>
            </a:extLst>
          </p:cNvPr>
          <p:cNvSpPr/>
          <p:nvPr/>
        </p:nvSpPr>
        <p:spPr>
          <a:xfrm>
            <a:off x="6841454" y="6583680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9" name="TextBox 6">
            <a:extLst>
              <a:ext uri="{FF2B5EF4-FFF2-40B4-BE49-F238E27FC236}">
                <a16:creationId xmlns:a16="http://schemas.microsoft.com/office/drawing/2014/main" id="{A0843AE9-191E-4072-A375-50C11518A134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27402454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242D08DA-5D96-4FC6-A910-ECBE851CF3C7}"/>
              </a:ext>
            </a:extLst>
          </p:cNvPr>
          <p:cNvGraphicFramePr/>
          <p:nvPr/>
        </p:nvGraphicFramePr>
        <p:xfrm>
          <a:off x="133350" y="560619"/>
          <a:ext cx="11837679" cy="5971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8. 1. 2022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6061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/>
        </p:nvGraphicFramePr>
        <p:xfrm>
          <a:off x="10917014" y="1476376"/>
          <a:ext cx="975360" cy="4684335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7 99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 8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 5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5 0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 8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 8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 0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 1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5 3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069691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 47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041063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5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574411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 00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37837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2 8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364134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3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1223415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1C4DBC00-ABAA-47B0-8261-8DCC80EB334A}"/>
              </a:ext>
            </a:extLst>
          </p:cNvPr>
          <p:cNvSpPr/>
          <p:nvPr/>
        </p:nvSpPr>
        <p:spPr>
          <a:xfrm>
            <a:off x="10907728" y="1056852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8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E7A57465-528B-4053-B85D-89AD1321B541}"/>
              </a:ext>
            </a:extLst>
          </p:cNvPr>
          <p:cNvSpPr/>
          <p:nvPr/>
        </p:nvSpPr>
        <p:spPr>
          <a:xfrm>
            <a:off x="240021" y="6160718"/>
            <a:ext cx="117163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ámka: Registrovaní, čekají na termín = provedli registraci na OČM nejdéle před dvěma měsíci; Mají rezervaci termínu = nejdéle před měsícem získali termín pro očkování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ělali onemocnění = osoby, které nebyly očkovány a ani nejsou přihlášeny k očkování a kdykoliv v minulosti prodělaly onemocnění COVID-19 podle dat ISIN.</a:t>
            </a:r>
          </a:p>
        </p:txBody>
      </p:sp>
    </p:spTree>
    <p:extLst>
      <p:ext uri="{BB962C8B-B14F-4D97-AF65-F5344CB8AC3E}">
        <p14:creationId xmlns:p14="http://schemas.microsoft.com/office/powerpoint/2010/main" val="26494550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AD5E98D5-CB36-45E3-86F6-CB6922FC0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247785" cy="576000"/>
          </a:xfrm>
        </p:spPr>
        <p:txBody>
          <a:bodyPr/>
          <a:lstStyle/>
          <a:p>
            <a:r>
              <a:rPr lang="cs-CZ" dirty="0"/>
              <a:t>Přehled míst podání vakcín u dětí 5–11 let</a:t>
            </a:r>
            <a:endParaRPr lang="en-US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9E304296-D302-4813-871D-968CF4CA78F1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A8738F4-9D32-4F4C-9F47-88A72364040E}"/>
              </a:ext>
            </a:extLst>
          </p:cNvPr>
          <p:cNvSpPr/>
          <p:nvPr/>
        </p:nvSpPr>
        <p:spPr>
          <a:xfrm>
            <a:off x="248389" y="6303258"/>
            <a:ext cx="63153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dravotnická zařízení MV a MO, zařízení sociálních služeb poskytující zdravotní služby a pod.</a:t>
            </a:r>
          </a:p>
        </p:txBody>
      </p:sp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E300EC59-09E3-455E-9C64-4B93905DA24C}"/>
              </a:ext>
            </a:extLst>
          </p:cNvPr>
          <p:cNvGraphicFramePr>
            <a:graphicFrameLocks noGrp="1"/>
          </p:cNvGraphicFramePr>
          <p:nvPr/>
        </p:nvGraphicFramePr>
        <p:xfrm>
          <a:off x="203574" y="771525"/>
          <a:ext cx="7247785" cy="5508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2947">
                  <a:extLst>
                    <a:ext uri="{9D8B030D-6E8A-4147-A177-3AD203B41FA5}">
                      <a16:colId xmlns:a16="http://schemas.microsoft.com/office/drawing/2014/main" val="2507427930"/>
                    </a:ext>
                  </a:extLst>
                </a:gridCol>
                <a:gridCol w="1216779">
                  <a:extLst>
                    <a:ext uri="{9D8B030D-6E8A-4147-A177-3AD203B41FA5}">
                      <a16:colId xmlns:a16="http://schemas.microsoft.com/office/drawing/2014/main" val="1505726164"/>
                    </a:ext>
                  </a:extLst>
                </a:gridCol>
                <a:gridCol w="1066146">
                  <a:extLst>
                    <a:ext uri="{9D8B030D-6E8A-4147-A177-3AD203B41FA5}">
                      <a16:colId xmlns:a16="http://schemas.microsoft.com/office/drawing/2014/main" val="4172905718"/>
                    </a:ext>
                  </a:extLst>
                </a:gridCol>
                <a:gridCol w="1066146">
                  <a:extLst>
                    <a:ext uri="{9D8B030D-6E8A-4147-A177-3AD203B41FA5}">
                      <a16:colId xmlns:a16="http://schemas.microsoft.com/office/drawing/2014/main" val="4259194475"/>
                    </a:ext>
                  </a:extLst>
                </a:gridCol>
                <a:gridCol w="1066146">
                  <a:extLst>
                    <a:ext uri="{9D8B030D-6E8A-4147-A177-3AD203B41FA5}">
                      <a16:colId xmlns:a16="http://schemas.microsoft.com/office/drawing/2014/main" val="2414699702"/>
                    </a:ext>
                  </a:extLst>
                </a:gridCol>
                <a:gridCol w="709621">
                  <a:extLst>
                    <a:ext uri="{9D8B030D-6E8A-4147-A177-3AD203B41FA5}">
                      <a16:colId xmlns:a16="http://schemas.microsoft.com/office/drawing/2014/main" val="2216221750"/>
                    </a:ext>
                  </a:extLst>
                </a:gridCol>
              </a:tblGrid>
              <a:tr h="74041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(podíl %) dávek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cí míst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ktičtí lékař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ktičtí lékaři pro děti a doro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 zaříze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90759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4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 (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8 (1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1337318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7 (1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(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5 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7132841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9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(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5 (2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27591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7 (4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(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 (5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8661355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(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(1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651130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 (3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(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 (5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(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614305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(3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(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08348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 (4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 (5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80610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 (5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(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 (4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1272220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6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(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1 (1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(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211063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3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 (1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186115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(5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 (4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860591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0 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(2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(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15464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(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(1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5691884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34 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 (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34 (2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(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6616089"/>
                  </a:ext>
                </a:extLst>
              </a:tr>
            </a:tbl>
          </a:graphicData>
        </a:graphic>
      </p:graphicFrame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DCAC3080-30EC-4A30-9F1D-68DC013F565E}"/>
              </a:ext>
            </a:extLst>
          </p:cNvPr>
          <p:cNvCxnSpPr>
            <a:cxnSpLocks/>
          </p:cNvCxnSpPr>
          <p:nvPr/>
        </p:nvCxnSpPr>
        <p:spPr>
          <a:xfrm>
            <a:off x="2566124" y="1447799"/>
            <a:ext cx="720000" cy="0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30A6862F-D45D-4185-8083-A56E779238B7}"/>
              </a:ext>
            </a:extLst>
          </p:cNvPr>
          <p:cNvCxnSpPr>
            <a:cxnSpLocks/>
          </p:cNvCxnSpPr>
          <p:nvPr/>
        </p:nvCxnSpPr>
        <p:spPr>
          <a:xfrm>
            <a:off x="3774110" y="1447799"/>
            <a:ext cx="72000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9B9BC236-AAA7-4F2D-B110-BAC5F8A3A746}"/>
              </a:ext>
            </a:extLst>
          </p:cNvPr>
          <p:cNvCxnSpPr>
            <a:cxnSpLocks/>
          </p:cNvCxnSpPr>
          <p:nvPr/>
        </p:nvCxnSpPr>
        <p:spPr>
          <a:xfrm>
            <a:off x="5859825" y="1447799"/>
            <a:ext cx="720000" cy="0"/>
          </a:xfrm>
          <a:prstGeom prst="line">
            <a:avLst/>
          </a:prstGeom>
          <a:ln w="762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033D2E76-AEC5-45C3-83B9-DCCCDA5926A9}"/>
              </a:ext>
            </a:extLst>
          </p:cNvPr>
          <p:cNvCxnSpPr>
            <a:cxnSpLocks/>
          </p:cNvCxnSpPr>
          <p:nvPr/>
        </p:nvCxnSpPr>
        <p:spPr>
          <a:xfrm>
            <a:off x="4816967" y="1447799"/>
            <a:ext cx="720000" cy="0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AC1D4B82-602D-4768-A109-9B6A1955AEE5}"/>
              </a:ext>
            </a:extLst>
          </p:cNvPr>
          <p:cNvGraphicFramePr/>
          <p:nvPr/>
        </p:nvGraphicFramePr>
        <p:xfrm>
          <a:off x="7429500" y="647700"/>
          <a:ext cx="4610100" cy="5753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6">
            <a:extLst>
              <a:ext uri="{FF2B5EF4-FFF2-40B4-BE49-F238E27FC236}">
                <a16:creationId xmlns:a16="http://schemas.microsoft.com/office/drawing/2014/main" id="{D533713D-C834-486A-B31D-CA4023250ED1}"/>
              </a:ext>
            </a:extLst>
          </p:cNvPr>
          <p:cNvSpPr txBox="1"/>
          <p:nvPr/>
        </p:nvSpPr>
        <p:spPr>
          <a:xfrm>
            <a:off x="6657975" y="17609"/>
            <a:ext cx="1438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 1. 2022</a:t>
            </a:r>
          </a:p>
        </p:txBody>
      </p:sp>
    </p:spTree>
    <p:extLst>
      <p:ext uri="{BB962C8B-B14F-4D97-AF65-F5344CB8AC3E}">
        <p14:creationId xmlns:p14="http://schemas.microsoft.com/office/powerpoint/2010/main" val="1459246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/>
        </p:nvGraphicFramePr>
        <p:xfrm>
          <a:off x="534011" y="713269"/>
          <a:ext cx="4642987" cy="5420828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676963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483012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483012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</a:tblGrid>
              <a:tr h="59665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 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 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 5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9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0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0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 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 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 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0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 0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7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8 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 3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52565138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neznámo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5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3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6" name="Obdélník 5">
            <a:extLst>
              <a:ext uri="{FF2B5EF4-FFF2-40B4-BE49-F238E27FC236}">
                <a16:creationId xmlns:a16="http://schemas.microsoft.com/office/drawing/2014/main" id="{652C7556-A4C1-40D2-A38E-27DDBBCE0320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graphicFrame>
        <p:nvGraphicFramePr>
          <p:cNvPr id="7" name="Table 2">
            <a:extLst>
              <a:ext uri="{FF2B5EF4-FFF2-40B4-BE49-F238E27FC236}">
                <a16:creationId xmlns:a16="http://schemas.microsoft.com/office/drawing/2014/main" id="{BA49A4E1-B87F-4856-AE02-3A0205732F17}"/>
              </a:ext>
            </a:extLst>
          </p:cNvPr>
          <p:cNvGraphicFramePr>
            <a:graphicFrameLocks noGrp="1"/>
          </p:cNvGraphicFramePr>
          <p:nvPr/>
        </p:nvGraphicFramePr>
        <p:xfrm>
          <a:off x="6159269" y="713268"/>
          <a:ext cx="4499205" cy="5420828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566279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466463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466463">
                  <a:extLst>
                    <a:ext uri="{9D8B030D-6E8A-4147-A177-3AD203B41FA5}">
                      <a16:colId xmlns:a16="http://schemas.microsoft.com/office/drawing/2014/main" val="3223156225"/>
                    </a:ext>
                  </a:extLst>
                </a:gridCol>
              </a:tblGrid>
              <a:tr h="56734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ěk při vakcinaci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 17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–2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8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–2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–3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–3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9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–4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0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–4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6 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42436200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–5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 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53730061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–5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 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85082474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 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 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508664285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8 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 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 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–7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 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 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56435555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–8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 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 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–8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–9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9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72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+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5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3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1589E7FA-4B9B-4A47-B644-52ADA5B56236}"/>
              </a:ext>
            </a:extLst>
          </p:cNvPr>
          <p:cNvSpPr/>
          <p:nvPr/>
        </p:nvSpPr>
        <p:spPr>
          <a:xfrm>
            <a:off x="467336" y="6170376"/>
            <a:ext cx="915507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očkování posilující dávkou je možné pro osoby, které mají nejméně 6 měsíců (v této analýze 182 dnů) po aplikaci ukončovací (druhé) dáv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růběžné počty osob již s aplikovanou posilující dávkou očkován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927A06F3-4E39-4980-923C-7EF843B38C5B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1469813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čet podaných dávek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95714FEC-834D-480B-8B92-810FD14C08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9067533"/>
              </p:ext>
            </p:extLst>
          </p:nvPr>
        </p:nvGraphicFramePr>
        <p:xfrm>
          <a:off x="838201" y="1497105"/>
          <a:ext cx="10515598" cy="4716816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421827435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30653803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883251910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19352179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2400059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10877728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91277591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80722728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1752515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78165000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80028189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49613820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389519338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75395028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22948748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46897627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610814171"/>
                    </a:ext>
                  </a:extLst>
                </a:gridCol>
              </a:tblGrid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594595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0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 1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3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6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2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0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 4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0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 6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3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 8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 7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3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5 3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0580956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6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6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6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3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88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2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6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0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2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6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8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4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3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0 8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3142931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9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2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4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7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8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9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0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6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0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7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9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8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8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 2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596608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4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5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3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8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5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9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0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5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1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9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7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7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4 4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430162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9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6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3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3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9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5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4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7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1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9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9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 6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13771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1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8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6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2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5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6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3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9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8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2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2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5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0 6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187020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5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2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7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3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6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7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5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4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4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6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6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1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 8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748903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4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1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3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9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7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4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7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0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9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9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7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9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 1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780045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9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3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1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1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2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0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7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2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6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2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2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930258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6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1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3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3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1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3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6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9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1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0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5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 2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5009071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2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2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5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0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6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0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2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4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7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2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9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7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4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5 5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299437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7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7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3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1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1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7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3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4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9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 8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684270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5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6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2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9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3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5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7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7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4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2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1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 1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26899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3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0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4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2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0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5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6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8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1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0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2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7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8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9 2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2946366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5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3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9 5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 8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1 2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5 4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6 0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8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8 6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3 9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6 4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 8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5 9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5 9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09 7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08810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784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Ukončené očkování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BCA7BD69-E3DC-473E-9243-804831460D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9640358"/>
              </p:ext>
            </p:extLst>
          </p:nvPr>
        </p:nvGraphicFramePr>
        <p:xfrm>
          <a:off x="838201" y="1443317"/>
          <a:ext cx="10515598" cy="4748766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253423519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19396158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50230758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411523130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08274832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99827945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08630377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39069083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19176667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414619471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68961607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21224864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86691397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37272242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67834216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60309763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910968841"/>
                    </a:ext>
                  </a:extLst>
                </a:gridCol>
              </a:tblGrid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114412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2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4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5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2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1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1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9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7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6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3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5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2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2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0 7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4127016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1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3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1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2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5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3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3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1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6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7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 7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32875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5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6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9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5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5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5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8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7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0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 0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97969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7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8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0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4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6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1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9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6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83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7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 6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6910943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5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9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3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2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5347932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4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0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6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9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6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6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1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4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7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8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8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 7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10960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2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1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4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3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9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7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1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4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1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4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672495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9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8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4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8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8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6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2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0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 7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850385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4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1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3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8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9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1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7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 4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7010623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2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2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03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2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2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9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1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 6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8699591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3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2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1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6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6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5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4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0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8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2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8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9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9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1501879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2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4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1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0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3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1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 7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9730289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4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2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4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3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0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0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3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6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2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2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786378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2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93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8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0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3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5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5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8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8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7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0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4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 6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4960336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8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 0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0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 7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 5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8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4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 4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 5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 8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 7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1 0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 7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9 2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7324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1259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situace v Královéhradeckém kraji</a:t>
            </a:r>
            <a:b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2079428"/>
              </p:ext>
            </p:extLst>
          </p:nvPr>
        </p:nvGraphicFramePr>
        <p:xfrm>
          <a:off x="1656121" y="1960331"/>
          <a:ext cx="9564329" cy="364006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144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06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denní počet nových případů na 100 tis. obyv.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89,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23240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hospitalizova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1 (z toho JIP 27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458135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potvrzených případů od 1.3.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39.76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449809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vyléče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33.19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6556811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úmrt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3192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6329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silující očkování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EAEA2BA6-08F5-41B5-903D-1A216E45A57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5796948"/>
              </p:ext>
            </p:extLst>
          </p:nvPr>
        </p:nvGraphicFramePr>
        <p:xfrm>
          <a:off x="838201" y="1586753"/>
          <a:ext cx="10515598" cy="4614291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407326875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5598499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4202390091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71818263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07073995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420826714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25399803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33610591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630108694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71890632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52767233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22748100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74062635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07724545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70588821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40394148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617221204"/>
                    </a:ext>
                  </a:extLst>
                </a:gridCol>
              </a:tblGrid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13454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4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3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2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1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1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9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3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7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 8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260967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2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7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1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8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7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7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4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033690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1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8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1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2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7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1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8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595228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5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9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6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7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5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751555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7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9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1664348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5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9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7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6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1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4782295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6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7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6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3288380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2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6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3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5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5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139946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8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8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1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4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290855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9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9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2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242678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6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5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8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5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2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5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8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 9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8347433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2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5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8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1499996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5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0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8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5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1795754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6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2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2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7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5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3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6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1410817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9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6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2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3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2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7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3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 8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0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 3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6 9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9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61 6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3318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9186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aktičtí lékaři – dávky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364DAEAE-1B83-441A-B555-50569AC458D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18146091"/>
              </p:ext>
            </p:extLst>
          </p:nvPr>
        </p:nvGraphicFramePr>
        <p:xfrm>
          <a:off x="838201" y="1532965"/>
          <a:ext cx="10515598" cy="4664721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199695208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42530168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628625044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56718103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825129315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774635645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83195692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21366178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292905269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639756308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10240649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44375085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269388608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99601850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0306416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72955508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902525166"/>
                    </a:ext>
                  </a:extLst>
                </a:gridCol>
              </a:tblGrid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695770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8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5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6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7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6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2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 8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79059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9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6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1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2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11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4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 6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5879268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2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3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3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7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1625941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2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9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9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44575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4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0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7510533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7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1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8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260392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9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2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6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2705717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0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9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740776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8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7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1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5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1121584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3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0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2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6511711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1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1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5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6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9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0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 0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4158858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1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8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4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066887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4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0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2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4450309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7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2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3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8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0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3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 0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3187140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9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2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6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0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8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9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0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7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8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0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5 1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 1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7 2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08134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0389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COVID-19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0E0F8C5-58C5-4603-9D08-494ED8906A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cs-CZ" dirty="0">
                <a:hlinkClick r:id="rId3"/>
              </a:rPr>
              <a:t>COVID-19 | Královéhradecký kraj Onemocnění aktuálně od MZČR (mzcr.cz)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7C1AF37-8739-4D0B-9D9F-39D215256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3247" y="1766046"/>
            <a:ext cx="8516471" cy="4643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4373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20F01F22-7C8C-41CF-8FA4-176EFCF9E56F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E88F4AC-3EB6-4648-BF73-4809860F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1E5C570B-BD7E-4700-B8B2-B4829E54E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725" y="2091108"/>
            <a:ext cx="5981700" cy="2675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48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ěkuji za pozornost</a:t>
            </a:r>
          </a:p>
          <a:p>
            <a:pPr marL="0" indent="0" algn="ctr">
              <a:buNone/>
            </a:pPr>
            <a:endParaRPr lang="cs-CZ" sz="4800" dirty="0">
              <a:solidFill>
                <a:srgbClr val="2B2B82"/>
              </a:solidFill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Demi" panose="020B0703020102020204" pitchFamily="34" charset="0"/>
              </a:rPr>
              <a:t>Martin Červíček</a:t>
            </a: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Book" panose="020B0503020102020204" pitchFamily="34" charset="0"/>
              </a:rPr>
              <a:t>hejtman</a:t>
            </a:r>
          </a:p>
        </p:txBody>
      </p:sp>
    </p:spTree>
    <p:extLst>
      <p:ext uri="{BB962C8B-B14F-4D97-AF65-F5344CB8AC3E}">
        <p14:creationId xmlns:p14="http://schemas.microsoft.com/office/powerpoint/2010/main" val="3534925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5268904"/>
              </p:ext>
            </p:extLst>
          </p:nvPr>
        </p:nvGraphicFramePr>
        <p:xfrm>
          <a:off x="1656117" y="3911193"/>
          <a:ext cx="9564329" cy="81723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2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.564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652,0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43 (z toho JIP 54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1949544"/>
              </p:ext>
            </p:extLst>
          </p:nvPr>
        </p:nvGraphicFramePr>
        <p:xfrm>
          <a:off x="1656119" y="1078811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2. 1. 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046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292,3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0 (z toho JIP 22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1" name="Zástupný symbol pro obsah 8">
            <a:extLst>
              <a:ext uri="{FF2B5EF4-FFF2-40B4-BE49-F238E27FC236}">
                <a16:creationId xmlns:a16="http://schemas.microsoft.com/office/drawing/2014/main" id="{CB21B2A3-3C4C-404D-8E37-15D7EE03B6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9065105"/>
              </p:ext>
            </p:extLst>
          </p:nvPr>
        </p:nvGraphicFramePr>
        <p:xfrm>
          <a:off x="1656119" y="1993440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147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6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16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08,9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397315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44 (z toho JIP 30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8" name="Zástupný symbol pro obsah 8">
            <a:extLst>
              <a:ext uri="{FF2B5EF4-FFF2-40B4-BE49-F238E27FC236}">
                <a16:creationId xmlns:a16="http://schemas.microsoft.com/office/drawing/2014/main" id="{583A128E-FB2F-4A60-87A4-3AF0F79007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0690529"/>
              </p:ext>
            </p:extLst>
          </p:nvPr>
        </p:nvGraphicFramePr>
        <p:xfrm>
          <a:off x="1656118" y="2914552"/>
          <a:ext cx="9564329" cy="97047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9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.64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521,0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16 (z toho JIP 44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8">
            <a:extLst>
              <a:ext uri="{FF2B5EF4-FFF2-40B4-BE49-F238E27FC236}">
                <a16:creationId xmlns:a16="http://schemas.microsoft.com/office/drawing/2014/main" id="{E47AE5E2-D8A3-4DB5-B552-D9CA220797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6283331"/>
              </p:ext>
            </p:extLst>
          </p:nvPr>
        </p:nvGraphicFramePr>
        <p:xfrm>
          <a:off x="1656116" y="4784907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5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395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70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48 (z toho JIP 5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8640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 zač. r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6135908"/>
              </p:ext>
            </p:extLst>
          </p:nvPr>
        </p:nvGraphicFramePr>
        <p:xfrm>
          <a:off x="1582967" y="1936029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49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85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23 (z toho JIP 11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6658473"/>
              </p:ext>
            </p:extLst>
          </p:nvPr>
        </p:nvGraphicFramePr>
        <p:xfrm>
          <a:off x="1582966" y="3625868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0. 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.961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994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62 (z toho JIP 10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09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enní počty nově zjištěných C+ v KHK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9" name="Zástupný obsah 8">
            <a:extLst>
              <a:ext uri="{FF2B5EF4-FFF2-40B4-BE49-F238E27FC236}">
                <a16:creationId xmlns:a16="http://schemas.microsoft.com/office/drawing/2014/main" id="{ACFE8AB2-3444-46E1-B0A6-20B453750E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38200" y="1864659"/>
            <a:ext cx="10515600" cy="3944470"/>
          </a:xfrm>
        </p:spPr>
      </p:pic>
    </p:spTree>
    <p:extLst>
      <p:ext uri="{BB962C8B-B14F-4D97-AF65-F5344CB8AC3E}">
        <p14:creationId xmlns:p14="http://schemas.microsoft.com/office/powerpoint/2010/main" val="235167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32" name="Rectangle 4">
            <a:extLst>
              <a:ext uri="{FF2B5EF4-FFF2-40B4-BE49-F238E27FC236}">
                <a16:creationId xmlns:a16="http://schemas.microsoft.com/office/drawing/2014/main" id="{7367DB1B-8949-4FCA-86B5-961FC3BF2B3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004150" y="1371909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33" name="TextovéPole 25">
            <a:extLst>
              <a:ext uri="{FF2B5EF4-FFF2-40B4-BE49-F238E27FC236}">
                <a16:creationId xmlns:a16="http://schemas.microsoft.com/office/drawing/2014/main" id="{AC52E5E2-0004-4DEA-9A78-DB8B2CA7A4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28585" y="5394356"/>
            <a:ext cx="3899632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vstupu varianty Omikron. </a:t>
            </a:r>
          </a:p>
        </p:txBody>
      </p:sp>
      <p:sp>
        <p:nvSpPr>
          <p:cNvPr id="35" name="TextovéPole 30">
            <a:extLst>
              <a:ext uri="{FF2B5EF4-FFF2-40B4-BE49-F238E27FC236}">
                <a16:creationId xmlns:a16="http://schemas.microsoft.com/office/drawing/2014/main" id="{C74E3C8A-C65A-4AB6-A2D6-C4395DE0734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44737" y="4978838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37" name="Přímá spojnice 33">
            <a:extLst>
              <a:ext uri="{FF2B5EF4-FFF2-40B4-BE49-F238E27FC236}">
                <a16:creationId xmlns:a16="http://schemas.microsoft.com/office/drawing/2014/main" id="{0D21EA8A-030E-497E-8E07-38F67704AD8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073767" y="509427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F7EBCD99-E581-4056-A13B-2F130ED7DA0D}"/>
              </a:ext>
            </a:extLst>
          </p:cNvPr>
          <p:cNvSpPr txBox="1"/>
          <p:nvPr/>
        </p:nvSpPr>
        <p:spPr>
          <a:xfrm>
            <a:off x="1280752" y="594333"/>
            <a:ext cx="10802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pro populační predikce počtu nakažených (scénář 2) není v modelech hospitalizací promítnut, protože tento kalkuluj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nákazou primárně citlivých osob a dále s průlomovými nákazami u očkovaných osob a  v populaci s prodělaným onemocněním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 nakažení by však dle dostupných dat měli být významně chráněni před těžkým průběhem onemocnění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DD659507-8D51-4BA2-ACB5-A40FDDD5522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44736" y="2392646"/>
            <a:ext cx="37220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rní hranice spolehlivosti predikce</a:t>
            </a:r>
          </a:p>
        </p:txBody>
      </p:sp>
      <p:cxnSp>
        <p:nvCxnSpPr>
          <p:cNvPr id="17" name="Přímá spojnice 32">
            <a:extLst>
              <a:ext uri="{FF2B5EF4-FFF2-40B4-BE49-F238E27FC236}">
                <a16:creationId xmlns:a16="http://schemas.microsoft.com/office/drawing/2014/main" id="{6E002F0E-0C5B-4A30-A791-DEEC210791F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083495" y="2552457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25">
            <a:extLst>
              <a:ext uri="{FF2B5EF4-FFF2-40B4-BE49-F238E27FC236}">
                <a16:creationId xmlns:a16="http://schemas.microsoft.com/office/drawing/2014/main" id="{47FEB526-05FE-4C99-8CFC-F255D2A78B9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49507" y="3496526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20" name="TextovéPole 29">
            <a:extLst>
              <a:ext uri="{FF2B5EF4-FFF2-40B4-BE49-F238E27FC236}">
                <a16:creationId xmlns:a16="http://schemas.microsoft.com/office/drawing/2014/main" id="{97312F9A-706C-4BF9-B494-9D2E143BC0D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515495" y="2915598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21" name="Přímá spojnice 32">
            <a:extLst>
              <a:ext uri="{FF2B5EF4-FFF2-40B4-BE49-F238E27FC236}">
                <a16:creationId xmlns:a16="http://schemas.microsoft.com/office/drawing/2014/main" id="{943045D3-BB64-484B-BD0D-E4E23E6AE2D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083495" y="3075409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21395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A1A283C-4E32-4AB5-BAA8-37701DC8E70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0" name="Rectangle 4">
            <a:extLst>
              <a:ext uri="{FF2B5EF4-FFF2-40B4-BE49-F238E27FC236}">
                <a16:creationId xmlns:a16="http://schemas.microsoft.com/office/drawing/2014/main" id="{E998D389-5661-41B5-B94E-ECA3225C7C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004150" y="1371909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1" name="TextovéPole 25">
            <a:extLst>
              <a:ext uri="{FF2B5EF4-FFF2-40B4-BE49-F238E27FC236}">
                <a16:creationId xmlns:a16="http://schemas.microsoft.com/office/drawing/2014/main" id="{3757E1F4-2F00-444F-A418-5451B3A958B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28585" y="5394356"/>
            <a:ext cx="3899632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vstupu varianty Omikron. </a:t>
            </a:r>
          </a:p>
        </p:txBody>
      </p:sp>
      <p:sp>
        <p:nvSpPr>
          <p:cNvPr id="24" name="TextovéPole 30">
            <a:extLst>
              <a:ext uri="{FF2B5EF4-FFF2-40B4-BE49-F238E27FC236}">
                <a16:creationId xmlns:a16="http://schemas.microsoft.com/office/drawing/2014/main" id="{CC25B39B-D9D7-463B-8FBE-43251A8721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44737" y="4978838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26" name="Přímá spojnice 33">
            <a:extLst>
              <a:ext uri="{FF2B5EF4-FFF2-40B4-BE49-F238E27FC236}">
                <a16:creationId xmlns:a16="http://schemas.microsoft.com/office/drawing/2014/main" id="{794DA652-71D4-4225-8727-DC6923A2111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8073767" y="509427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F95A2071-1DE1-40AC-98EA-D5542DF5E051}"/>
              </a:ext>
            </a:extLst>
          </p:cNvPr>
          <p:cNvSpPr txBox="1"/>
          <p:nvPr/>
        </p:nvSpPr>
        <p:spPr>
          <a:xfrm>
            <a:off x="1280752" y="594333"/>
            <a:ext cx="10802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pro populační predikce počtu nakažených (scénář 2) není v modelech hospitalizací promítnut, protože tento kalkuluj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nákazou primárně citlivých osob a dále s průlomovými nákazami u očkovaných osob a  v populaci s prodělaným onemocněním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 nakažení by však dle dostupných dat měli být významně chráněni před těžkým průběhem onemocnění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58121581-74AE-4A08-AC4F-F4AA290E21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44736" y="2120220"/>
            <a:ext cx="37220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rní hranice spolehlivosti predikce</a:t>
            </a:r>
          </a:p>
        </p:txBody>
      </p:sp>
      <p:cxnSp>
        <p:nvCxnSpPr>
          <p:cNvPr id="19" name="Přímá spojnice 32">
            <a:extLst>
              <a:ext uri="{FF2B5EF4-FFF2-40B4-BE49-F238E27FC236}">
                <a16:creationId xmlns:a16="http://schemas.microsoft.com/office/drawing/2014/main" id="{DC4E191D-1C9F-4BD9-8511-91117558E008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083495" y="2280031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DB9203B6-4D67-40E4-B601-330E1565A05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49507" y="3224100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32" name="TextovéPole 29">
            <a:extLst>
              <a:ext uri="{FF2B5EF4-FFF2-40B4-BE49-F238E27FC236}">
                <a16:creationId xmlns:a16="http://schemas.microsoft.com/office/drawing/2014/main" id="{0334C9F1-11B8-4851-B94E-B8A97B1466E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15495" y="2643172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983F3411-E340-4054-B477-B662E2846BB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083495" y="2802983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7770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C13509B-D2F3-452A-BB89-5A10A8602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194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Nasazení armády ČR</a:t>
            </a:r>
            <a:endParaRPr lang="cs-CZ" sz="3600" dirty="0"/>
          </a:p>
        </p:txBody>
      </p:sp>
      <p:graphicFrame>
        <p:nvGraphicFramePr>
          <p:cNvPr id="4" name="Zástupný symbol pro obsah 3">
            <a:extLst>
              <a:ext uri="{FF2B5EF4-FFF2-40B4-BE49-F238E27FC236}">
                <a16:creationId xmlns:a16="http://schemas.microsoft.com/office/drawing/2014/main" id="{5546F5DE-EBDD-4C12-A442-C04F017114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5357169"/>
              </p:ext>
            </p:extLst>
          </p:nvPr>
        </p:nvGraphicFramePr>
        <p:xfrm>
          <a:off x="2407225" y="1992646"/>
          <a:ext cx="7195175" cy="28727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27030">
                  <a:extLst>
                    <a:ext uri="{9D8B030D-6E8A-4147-A177-3AD203B41FA5}">
                      <a16:colId xmlns:a16="http://schemas.microsoft.com/office/drawing/2014/main" val="3711849303"/>
                    </a:ext>
                  </a:extLst>
                </a:gridCol>
                <a:gridCol w="1268145">
                  <a:extLst>
                    <a:ext uri="{9D8B030D-6E8A-4147-A177-3AD203B41FA5}">
                      <a16:colId xmlns:a16="http://schemas.microsoft.com/office/drawing/2014/main" val="1035950899"/>
                    </a:ext>
                  </a:extLst>
                </a:gridCol>
              </a:tblGrid>
              <a:tr h="54608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ázev zaří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čet osob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02576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24726258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Náchod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91802669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Rychnov nad Kněžnou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740155024"/>
                  </a:ext>
                </a:extLst>
              </a:tr>
              <a:tr h="45603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>
                          <a:effectLst/>
                        </a:rPr>
                        <a:t>CELKEM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810813046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D91E11E4-8024-42D4-A65A-4B0F6B6C65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51" y="5916987"/>
            <a:ext cx="1343926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85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9. 1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578224" y="1866817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835 194</a:t>
            </a:r>
          </a:p>
        </p:txBody>
      </p:sp>
    </p:spTree>
    <p:extLst>
      <p:ext uri="{BB962C8B-B14F-4D97-AF65-F5344CB8AC3E}">
        <p14:creationId xmlns:p14="http://schemas.microsoft.com/office/powerpoint/2010/main" val="3224921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5</TotalTime>
  <Words>4063</Words>
  <Application>Microsoft Office PowerPoint</Application>
  <PresentationFormat>Širokoúhlá obrazovka</PresentationFormat>
  <Paragraphs>1523</Paragraphs>
  <Slides>23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3</vt:i4>
      </vt:variant>
    </vt:vector>
  </HeadingPairs>
  <TitlesOfParts>
    <vt:vector size="34" baseType="lpstr">
      <vt:lpstr>Arial</vt:lpstr>
      <vt:lpstr>Calibri</vt:lpstr>
      <vt:lpstr>Calibri Light</vt:lpstr>
      <vt:lpstr>Franklin Gothic Book</vt:lpstr>
      <vt:lpstr>Franklin Gothic Demi</vt:lpstr>
      <vt:lpstr>Franklin Gothic Medium</vt:lpstr>
      <vt:lpstr>System Font Regular</vt:lpstr>
      <vt:lpstr>Motiv Office</vt:lpstr>
      <vt:lpstr>1_Motiv Office</vt:lpstr>
      <vt:lpstr>3_Motiv Office</vt:lpstr>
      <vt:lpstr>4_Motiv Office</vt:lpstr>
      <vt:lpstr>Přehled epidemické situace a stavu očkování v Královéhradeckém kraji</vt:lpstr>
      <vt:lpstr>Aktuální situace v Královéhradeckém kraji k 9. 1. 2022</vt:lpstr>
      <vt:lpstr>Situace v Královéhradeckém kraji</vt:lpstr>
      <vt:lpstr>Situace v Královéhradeckém kraji zač. r. 2021</vt:lpstr>
      <vt:lpstr>Denní počty nově zjištěných C+ v KHK kraji</vt:lpstr>
      <vt:lpstr>Predikovaný celkový počet aktuálně hospitalizovaných</vt:lpstr>
      <vt:lpstr>Predikovaný počet aktuálně hospitalizovaných na JIP</vt:lpstr>
      <vt:lpstr>Nasazení armády ČR</vt:lpstr>
      <vt:lpstr>Počet očkování</vt:lpstr>
      <vt:lpstr>Počet ukončených očkování</vt:lpstr>
      <vt:lpstr>Počet očkování posilující dávkou</vt:lpstr>
      <vt:lpstr>Proočkovanost</vt:lpstr>
      <vt:lpstr>Očkovaní v krajích (podle místa podání)</vt:lpstr>
      <vt:lpstr>Očkovaní v krajích (podle místa bydliště)</vt:lpstr>
      <vt:lpstr>Stav očkování obyvatel v ČR k 8. 1. 2022</vt:lpstr>
      <vt:lpstr>Přehled míst podání vakcín u dětí 5–11 let</vt:lpstr>
      <vt:lpstr>Vakcinace posilující dávkou</vt:lpstr>
      <vt:lpstr>Počet podaných dávek k 9. 1. 2022</vt:lpstr>
      <vt:lpstr>Ukončené očkování k 9. 1. 2022</vt:lpstr>
      <vt:lpstr>Posilující očkování k 9. 1. 2022</vt:lpstr>
      <vt:lpstr>Praktičtí lékaři – dávky k 9. 1. 2022</vt:lpstr>
      <vt:lpstr>Informace COVID-19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čkovací strategie Královéhradeckého kraje</dc:title>
  <dc:creator>Pejšek Miroslav Ing.</dc:creator>
  <cp:lastModifiedBy>Malíř Radek Mgr.</cp:lastModifiedBy>
  <cp:revision>540</cp:revision>
  <cp:lastPrinted>2021-12-06T08:37:32Z</cp:lastPrinted>
  <dcterms:created xsi:type="dcterms:W3CDTF">2021-01-14T19:24:21Z</dcterms:created>
  <dcterms:modified xsi:type="dcterms:W3CDTF">2022-01-11T08:11:05Z</dcterms:modified>
</cp:coreProperties>
</file>